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61" r:id="rId5"/>
  </p:sldMasterIdLst>
  <p:notesMasterIdLst>
    <p:notesMasterId r:id="rId11"/>
  </p:notesMasterIdLst>
  <p:handoutMasterIdLst>
    <p:handoutMasterId r:id="rId12"/>
  </p:handoutMasterIdLst>
  <p:sldIdLst>
    <p:sldId id="414" r:id="rId6"/>
    <p:sldId id="12474" r:id="rId7"/>
    <p:sldId id="12477" r:id="rId8"/>
    <p:sldId id="12478" r:id="rId9"/>
    <p:sldId id="12476" r:id="rId10"/>
  </p:sldIdLst>
  <p:sldSz cx="12192000" cy="6858000"/>
  <p:notesSz cx="7086600" cy="9428163"/>
  <p:custDataLst>
    <p:tags r:id="rId13"/>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C588CE3-E079-437C-A3FA-8466EE38A23D}">
          <p14:sldIdLst>
            <p14:sldId id="414"/>
            <p14:sldId id="12474"/>
            <p14:sldId id="12477"/>
            <p14:sldId id="12478"/>
            <p14:sldId id="12476"/>
          </p14:sldIdLst>
        </p14:section>
        <p14:section name="Archive" id="{8A8539DE-ED46-44F7-949B-8FF9D087EC2C}">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416" userDrawn="1">
          <p15:clr>
            <a:srgbClr val="A4A3A4"/>
          </p15:clr>
        </p15:guide>
        <p15:guide id="13" orient="horz" pos="1056" userDrawn="1">
          <p15:clr>
            <a:srgbClr val="A4A3A4"/>
          </p15:clr>
        </p15:guide>
        <p15:guide id="14" orient="horz" pos="3370" userDrawn="1">
          <p15:clr>
            <a:srgbClr val="A4A3A4"/>
          </p15:clr>
        </p15:guide>
        <p15:guide id="15" orient="horz" pos="2808" userDrawn="1">
          <p15:clr>
            <a:srgbClr val="A4A3A4"/>
          </p15:clr>
        </p15:guide>
        <p15:guide id="16" pos="4224" userDrawn="1">
          <p15:clr>
            <a:srgbClr val="A4A3A4"/>
          </p15:clr>
        </p15:guide>
        <p15:guide id="17" orient="horz" pos="2160" userDrawn="1">
          <p15:clr>
            <a:srgbClr val="A4A3A4"/>
          </p15:clr>
        </p15:guide>
      </p15:sldGuideLst>
    </p:ext>
    <p:ext uri="{2D200454-40CA-4A62-9FC3-DE9A4176ACB9}">
      <p15:notesGuideLst xmlns:p15="http://schemas.microsoft.com/office/powerpoint/2012/main">
        <p15:guide id="1" orient="horz" pos="2970" userDrawn="1">
          <p15:clr>
            <a:srgbClr val="A4A3A4"/>
          </p15:clr>
        </p15:guide>
        <p15:guide id="2" pos="223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6EE7B05-8334-603E-0986-B6B106580B7F}" name="Gibson, Brianna" initials="GB" userId="S::bgibson@deloitte.com::7257973d-21c6-4ef5-ad0a-c9b71d774325" providerId="AD"/>
  <p188:author id="{61C6FD0F-36F4-190B-5713-012E18BE93B6}" name="Lewek, Alex" initials="LA" userId="S::alewek@deloitte.com::328f656f-76c6-430d-a266-96007f5c1fc8" providerId="AD"/>
  <p188:author id="{266BA513-6A75-BD3C-68B7-FDF963D97904}" name="Xu, April" initials="AX" userId="Xu, April" providerId="None"/>
  <p188:author id="{C459946B-4D61-6DB6-6C2A-6D0FF2AD73F5}" name="Alex Jarrett" initials="AJ" userId="S::ajarrett@deloitte.com::b334c266-4101-45a3-aff9-65d5e7a01bcf" providerId="AD"/>
  <p188:author id="{3626488F-FE33-6B4D-3D61-C4AAABE4F59C}" name="Andrade Rocha, Julia" initials="ARJ" userId="S::juandraderocha@deloitte.com::7dff1de2-a871-41e1-af81-88b7ee98b0f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 id="2" name="Lewek, Alex" initials="AL" lastIdx="45" clrIdx="1">
    <p:extLst>
      <p:ext uri="{19B8F6BF-5375-455C-9EA6-DF929625EA0E}">
        <p15:presenceInfo xmlns:p15="http://schemas.microsoft.com/office/powerpoint/2012/main" userId="Lewek, Alex" providerId="None"/>
      </p:ext>
    </p:extLst>
  </p:cmAuthor>
  <p:cmAuthor id="3" name="Xu, April" initials="AX" lastIdx="37" clrIdx="2">
    <p:extLst>
      <p:ext uri="{19B8F6BF-5375-455C-9EA6-DF929625EA0E}">
        <p15:presenceInfo xmlns:p15="http://schemas.microsoft.com/office/powerpoint/2012/main" userId="Xu, April" providerId="None"/>
      </p:ext>
    </p:extLst>
  </p:cmAuthor>
  <p:cmAuthor id="4" name="Mehta, Dhiraj" initials="DM" lastIdx="13" clrIdx="3">
    <p:extLst>
      <p:ext uri="{19B8F6BF-5375-455C-9EA6-DF929625EA0E}">
        <p15:presenceInfo xmlns:p15="http://schemas.microsoft.com/office/powerpoint/2012/main" userId="Mehta, Dhiraj" providerId="None"/>
      </p:ext>
    </p:extLst>
  </p:cmAuthor>
  <p:cmAuthor id="5" name="Administrator" initials="A" lastIdx="2" clrIdx="4">
    <p:extLst>
      <p:ext uri="{19B8F6BF-5375-455C-9EA6-DF929625EA0E}">
        <p15:presenceInfo xmlns:p15="http://schemas.microsoft.com/office/powerpoint/2012/main" userId="Administrator" providerId="None"/>
      </p:ext>
    </p:extLst>
  </p:cmAuthor>
  <p:cmAuthor id="6" name="Deloitte" initials="DG" lastIdx="4" clrIdx="5">
    <p:extLst>
      <p:ext uri="{19B8F6BF-5375-455C-9EA6-DF929625EA0E}">
        <p15:presenceInfo xmlns:p15="http://schemas.microsoft.com/office/powerpoint/2012/main" userId="Deloitt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44"/>
    <a:srgbClr val="002060"/>
    <a:srgbClr val="012169"/>
    <a:srgbClr val="86BC25"/>
    <a:srgbClr val="F2F2F2"/>
    <a:srgbClr val="009A44"/>
    <a:srgbClr val="0097A9"/>
    <a:srgbClr val="FFFFCC"/>
    <a:srgbClr val="00ABAB"/>
    <a:srgbClr val="6FC2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48" d="100"/>
          <a:sy n="148" d="100"/>
        </p:scale>
        <p:origin x="668" y="92"/>
      </p:cViewPr>
      <p:guideLst>
        <p:guide/>
        <p:guide orient="horz" pos="2047"/>
        <p:guide orient="horz" pos="1416"/>
        <p:guide orient="horz" pos="1056"/>
        <p:guide orient="horz" pos="3370"/>
        <p:guide orient="horz" pos="2808"/>
        <p:guide pos="4224"/>
        <p:guide orient="horz" pos="2160"/>
      </p:guideLst>
    </p:cSldViewPr>
  </p:slideViewPr>
  <p:notesTextViewPr>
    <p:cViewPr>
      <p:scale>
        <a:sx n="1" d="1"/>
        <a:sy n="1" d="1"/>
      </p:scale>
      <p:origin x="0" y="0"/>
    </p:cViewPr>
  </p:notesTextViewPr>
  <p:notesViewPr>
    <p:cSldViewPr snapToGrid="0">
      <p:cViewPr>
        <p:scale>
          <a:sx n="1" d="2"/>
          <a:sy n="1" d="2"/>
        </p:scale>
        <p:origin x="0" y="0"/>
      </p:cViewPr>
      <p:guideLst>
        <p:guide orient="horz" pos="2970"/>
        <p:guide pos="223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071071" cy="470897"/>
          </a:xfrm>
          <a:prstGeom prst="rect">
            <a:avLst/>
          </a:prstGeom>
        </p:spPr>
        <p:txBody>
          <a:bodyPr vert="horz" lIns="88749" tIns="44375" rIns="88749" bIns="44375"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013945" y="1"/>
            <a:ext cx="3071071" cy="470897"/>
          </a:xfrm>
          <a:prstGeom prst="rect">
            <a:avLst/>
          </a:prstGeom>
        </p:spPr>
        <p:txBody>
          <a:bodyPr vert="horz" lIns="88749" tIns="44375" rIns="88749" bIns="44375" rtlCol="0"/>
          <a:lstStyle>
            <a:lvl1pPr algn="r">
              <a:defRPr sz="1100"/>
            </a:lvl1pPr>
          </a:lstStyle>
          <a:p>
            <a:fld id="{B4AD245C-091B-44E2-BFB0-BD94217887F7}" type="datetimeFigureOut">
              <a:rPr lang="en-US" smtClean="0">
                <a:latin typeface="Arial" panose="020B0604020202020204" pitchFamily="34" charset="0"/>
              </a:rPr>
              <a:t>5/19/2023</a:t>
            </a:fld>
            <a:endParaRPr lang="en-US">
              <a:latin typeface="Arial" panose="020B0604020202020204" pitchFamily="34" charset="0"/>
            </a:endParaRPr>
          </a:p>
        </p:txBody>
      </p:sp>
      <p:sp>
        <p:nvSpPr>
          <p:cNvPr id="4" name="Footer Placeholder 3"/>
          <p:cNvSpPr>
            <a:spLocks noGrp="1"/>
          </p:cNvSpPr>
          <p:nvPr>
            <p:ph type="ftr" sz="quarter" idx="2"/>
          </p:nvPr>
        </p:nvSpPr>
        <p:spPr>
          <a:xfrm>
            <a:off x="4" y="8955806"/>
            <a:ext cx="3071071" cy="470897"/>
          </a:xfrm>
          <a:prstGeom prst="rect">
            <a:avLst/>
          </a:prstGeom>
        </p:spPr>
        <p:txBody>
          <a:bodyPr vert="horz" lIns="88749" tIns="44375" rIns="88749" bIns="44375"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013945" y="8955806"/>
            <a:ext cx="3071071" cy="470897"/>
          </a:xfrm>
          <a:prstGeom prst="rect">
            <a:avLst/>
          </a:prstGeom>
        </p:spPr>
        <p:txBody>
          <a:bodyPr vert="horz" lIns="88749" tIns="44375" rIns="88749" bIns="44375"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70860" cy="471408"/>
          </a:xfrm>
          <a:prstGeom prst="rect">
            <a:avLst/>
          </a:prstGeom>
        </p:spPr>
        <p:txBody>
          <a:bodyPr vert="horz" lIns="96134" tIns="48066" rIns="96134" bIns="48066"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014102" y="1"/>
            <a:ext cx="3070860" cy="471408"/>
          </a:xfrm>
          <a:prstGeom prst="rect">
            <a:avLst/>
          </a:prstGeom>
        </p:spPr>
        <p:txBody>
          <a:bodyPr vert="horz" lIns="96134" tIns="48066" rIns="96134" bIns="48066" rtlCol="0"/>
          <a:lstStyle>
            <a:lvl1pPr algn="r">
              <a:defRPr sz="1200">
                <a:latin typeface="Arial" panose="020B0604020202020204" pitchFamily="34" charset="0"/>
              </a:defRPr>
            </a:lvl1pPr>
          </a:lstStyle>
          <a:p>
            <a:fld id="{0BA5BBE4-AEA3-489A-A28E-0C2FAF2506E3}" type="datetimeFigureOut">
              <a:rPr lang="en-US" smtClean="0"/>
              <a:pPr/>
              <a:t>5/19/2023</a:t>
            </a:fld>
            <a:endParaRPr lang="en-US"/>
          </a:p>
        </p:txBody>
      </p:sp>
      <p:sp>
        <p:nvSpPr>
          <p:cNvPr id="4" name="Slide Image Placeholder 3"/>
          <p:cNvSpPr>
            <a:spLocks noGrp="1" noRot="1" noChangeAspect="1"/>
          </p:cNvSpPr>
          <p:nvPr>
            <p:ph type="sldImg" idx="2"/>
          </p:nvPr>
        </p:nvSpPr>
        <p:spPr>
          <a:xfrm>
            <a:off x="403225" y="708025"/>
            <a:ext cx="6280150" cy="3533775"/>
          </a:xfrm>
          <a:prstGeom prst="rect">
            <a:avLst/>
          </a:prstGeom>
          <a:noFill/>
          <a:ln w="12700">
            <a:solidFill>
              <a:prstClr val="black"/>
            </a:solidFill>
          </a:ln>
        </p:spPr>
        <p:txBody>
          <a:bodyPr vert="horz" lIns="96134" tIns="48066" rIns="96134" bIns="48066" rtlCol="0" anchor="ctr"/>
          <a:lstStyle/>
          <a:p>
            <a:endParaRPr lang="en-GB"/>
          </a:p>
        </p:txBody>
      </p:sp>
      <p:sp>
        <p:nvSpPr>
          <p:cNvPr id="5" name="Notes Placeholder 4"/>
          <p:cNvSpPr>
            <a:spLocks noGrp="1"/>
          </p:cNvSpPr>
          <p:nvPr>
            <p:ph type="body" sz="quarter" idx="3"/>
          </p:nvPr>
        </p:nvSpPr>
        <p:spPr>
          <a:xfrm>
            <a:off x="708660" y="4478379"/>
            <a:ext cx="5669280" cy="4242673"/>
          </a:xfrm>
          <a:prstGeom prst="rect">
            <a:avLst/>
          </a:prstGeom>
        </p:spPr>
        <p:txBody>
          <a:bodyPr vert="horz" lIns="96134" tIns="48066" rIns="96134" bIns="4806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55120"/>
            <a:ext cx="3070860" cy="471408"/>
          </a:xfrm>
          <a:prstGeom prst="rect">
            <a:avLst/>
          </a:prstGeom>
        </p:spPr>
        <p:txBody>
          <a:bodyPr vert="horz" lIns="96134" tIns="48066" rIns="96134" bIns="48066"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14102" y="8955120"/>
            <a:ext cx="3070860" cy="471408"/>
          </a:xfrm>
          <a:prstGeom prst="rect">
            <a:avLst/>
          </a:prstGeom>
        </p:spPr>
        <p:txBody>
          <a:bodyPr vert="horz" lIns="96134" tIns="48066" rIns="96134" bIns="48066"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a:p>
        </p:txBody>
      </p:sp>
      <p:sp>
        <p:nvSpPr>
          <p:cNvPr id="4" name="Slide Number Placeholder 3"/>
          <p:cNvSpPr>
            <a:spLocks noGrp="1"/>
          </p:cNvSpPr>
          <p:nvPr>
            <p:ph type="sldNum" sz="quarter" idx="5"/>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8323539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en-US" b="0" i="0">
              <a:solidFill>
                <a:srgbClr val="131E29"/>
              </a:solidFill>
              <a:effectLst/>
              <a:latin typeface="Open Sans" panose="020B0606030504020204" pitchFamily="34" charset="0"/>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37497031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10053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24137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DD572C-0642-445C-95EA-9BF60C5DC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000768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47058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639625"/>
          </a:xfrm>
          <a:prstGeom prst="rect">
            <a:avLst/>
          </a:prstGeom>
        </p:spPr>
        <p:txBody>
          <a:bodyPr lIns="0" tIns="0" rIns="0" bIns="0">
            <a:noAutofit/>
          </a:bodyPr>
          <a:lstStyle>
            <a:lvl1pPr marL="0" indent="0">
              <a:buNone/>
              <a:defRPr sz="12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pic>
        <p:nvPicPr>
          <p:cNvPr id="7" name="Picture 6">
            <a:extLst>
              <a:ext uri="{FF2B5EF4-FFF2-40B4-BE49-F238E27FC236}">
                <a16:creationId xmlns:a16="http://schemas.microsoft.com/office/drawing/2014/main" id="{5A6B59E8-FEED-4491-92FA-84D3213DF14D}"/>
              </a:ext>
            </a:extLst>
          </p:cNvPr>
          <p:cNvPicPr>
            <a:picLocks noChangeAspect="1"/>
          </p:cNvPicPr>
          <p:nvPr userDrawn="1"/>
        </p:nvPicPr>
        <p:blipFill>
          <a:blip r:embed="rId2"/>
          <a:stretch>
            <a:fillRect/>
          </a:stretch>
        </p:blipFill>
        <p:spPr>
          <a:xfrm>
            <a:off x="9818687" y="296257"/>
            <a:ext cx="2159736" cy="401037"/>
          </a:xfrm>
          <a:prstGeom prst="rect">
            <a:avLst/>
          </a:prstGeom>
        </p:spPr>
      </p:pic>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7" name="Rectangle 16"/>
          <p:cNvSpPr/>
          <p:nvPr userDrawn="1"/>
        </p:nvSpPr>
        <p:spPr>
          <a:xfrm>
            <a:off x="469899" y="1705379"/>
            <a:ext cx="11237976"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2" name="Text Placeholder 8"/>
          <p:cNvSpPr>
            <a:spLocks noGrp="1"/>
          </p:cNvSpPr>
          <p:nvPr>
            <p:ph type="body" sz="quarter" idx="17"/>
          </p:nvPr>
        </p:nvSpPr>
        <p:spPr>
          <a:xfrm>
            <a:off x="469898" y="1857892"/>
            <a:ext cx="11252201"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1576788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6" name="Rectangle 15"/>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0" name="Text Placeholder 8"/>
          <p:cNvSpPr>
            <a:spLocks noGrp="1"/>
          </p:cNvSpPr>
          <p:nvPr>
            <p:ph type="body" sz="quarter" idx="22"/>
          </p:nvPr>
        </p:nvSpPr>
        <p:spPr>
          <a:xfrm>
            <a:off x="469899" y="36364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3490330"/>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63007727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00081606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A1203718-9DEC-42C7-A013-699B8C8B71DB}"/>
              </a:ext>
            </a:extLst>
          </p:cNvPr>
          <p:cNvSpPr>
            <a:spLocks noGrp="1"/>
          </p:cNvSpPr>
          <p:nvPr>
            <p:ph type="subTitle" idx="1"/>
          </p:nvPr>
        </p:nvSpPr>
        <p:spPr>
          <a:xfrm>
            <a:off x="380286" y="739067"/>
            <a:ext cx="4814277" cy="297393"/>
          </a:xfrm>
        </p:spPr>
        <p:txBody>
          <a:bodyPr>
            <a:noAutofit/>
          </a:bodyPr>
          <a:lstStyle>
            <a:lvl1pPr marL="0" indent="0" algn="l">
              <a:buNone/>
              <a:defRPr sz="20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a:t>
            </a:r>
          </a:p>
        </p:txBody>
      </p:sp>
      <p:cxnSp>
        <p:nvCxnSpPr>
          <p:cNvPr id="8" name="Straight Connector 7">
            <a:extLst>
              <a:ext uri="{FF2B5EF4-FFF2-40B4-BE49-F238E27FC236}">
                <a16:creationId xmlns:a16="http://schemas.microsoft.com/office/drawing/2014/main" id="{3CC36292-687B-478E-9C54-4888E87BB851}"/>
              </a:ext>
            </a:extLst>
          </p:cNvPr>
          <p:cNvCxnSpPr>
            <a:cxnSpLocks/>
          </p:cNvCxnSpPr>
          <p:nvPr userDrawn="1"/>
        </p:nvCxnSpPr>
        <p:spPr>
          <a:xfrm>
            <a:off x="340665" y="1201468"/>
            <a:ext cx="4819173" cy="0"/>
          </a:xfrm>
          <a:prstGeom prst="line">
            <a:avLst/>
          </a:prstGeom>
          <a:ln w="45720" cmpd="sng">
            <a:solidFill>
              <a:schemeClr val="accent2"/>
            </a:solidFill>
          </a:ln>
        </p:spPr>
        <p:style>
          <a:lnRef idx="2">
            <a:schemeClr val="accent1"/>
          </a:lnRef>
          <a:fillRef idx="0">
            <a:schemeClr val="accent1"/>
          </a:fillRef>
          <a:effectRef idx="1">
            <a:schemeClr val="accent1"/>
          </a:effectRef>
          <a:fontRef idx="minor">
            <a:schemeClr val="tx1"/>
          </a:fontRef>
        </p:style>
      </p:cxnSp>
      <p:sp>
        <p:nvSpPr>
          <p:cNvPr id="29" name="Title 1">
            <a:extLst>
              <a:ext uri="{FF2B5EF4-FFF2-40B4-BE49-F238E27FC236}">
                <a16:creationId xmlns:a16="http://schemas.microsoft.com/office/drawing/2014/main" id="{CC8D0C2E-E97E-4A0B-8CE7-E659B08224D7}"/>
              </a:ext>
            </a:extLst>
          </p:cNvPr>
          <p:cNvSpPr>
            <a:spLocks noGrp="1"/>
          </p:cNvSpPr>
          <p:nvPr>
            <p:ph type="ctrTitle"/>
          </p:nvPr>
        </p:nvSpPr>
        <p:spPr>
          <a:xfrm>
            <a:off x="367130" y="209645"/>
            <a:ext cx="4827433" cy="546022"/>
          </a:xfrm>
        </p:spPr>
        <p:txBody>
          <a:bodyPr anchor="b">
            <a:normAutofit/>
          </a:bodyPr>
          <a:lstStyle>
            <a:lvl1pPr algn="l">
              <a:defRPr sz="3200">
                <a:latin typeface="Chronicle Display Black" pitchFamily="50" charset="0"/>
              </a:defRPr>
            </a:lvl1pPr>
          </a:lstStyle>
          <a:p>
            <a:r>
              <a:rPr lang="en-US"/>
              <a:t>Click to edit</a:t>
            </a:r>
          </a:p>
        </p:txBody>
      </p:sp>
    </p:spTree>
    <p:extLst>
      <p:ext uri="{BB962C8B-B14F-4D97-AF65-F5344CB8AC3E}">
        <p14:creationId xmlns:p14="http://schemas.microsoft.com/office/powerpoint/2010/main" val="19793431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7D107-A388-738A-8495-881604D3DEE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D42DBFF-9D45-B3E7-4621-762F45EED96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C594D2A-3F3B-8292-94F5-BD5CDBCCE137}"/>
              </a:ext>
            </a:extLst>
          </p:cNvPr>
          <p:cNvSpPr>
            <a:spLocks noGrp="1"/>
          </p:cNvSpPr>
          <p:nvPr>
            <p:ph type="dt" sz="half" idx="10"/>
          </p:nvPr>
        </p:nvSpPr>
        <p:spPr/>
        <p:txBody>
          <a:bodyPr/>
          <a:lstStyle/>
          <a:p>
            <a:fld id="{19A2EF0E-B526-416E-B076-D39C2D7CD855}" type="datetimeFigureOut">
              <a:rPr lang="en-US" smtClean="0"/>
              <a:t>5/19/2023</a:t>
            </a:fld>
            <a:endParaRPr lang="en-US"/>
          </a:p>
        </p:txBody>
      </p:sp>
      <p:sp>
        <p:nvSpPr>
          <p:cNvPr id="5" name="Footer Placeholder 4">
            <a:extLst>
              <a:ext uri="{FF2B5EF4-FFF2-40B4-BE49-F238E27FC236}">
                <a16:creationId xmlns:a16="http://schemas.microsoft.com/office/drawing/2014/main" id="{631F6B72-BBEF-6BC5-7499-35D451F099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03CC8E-4B54-BD92-9CF1-95C50E71E479}"/>
              </a:ext>
            </a:extLst>
          </p:cNvPr>
          <p:cNvSpPr>
            <a:spLocks noGrp="1"/>
          </p:cNvSpPr>
          <p:nvPr>
            <p:ph type="sldNum" sz="quarter" idx="12"/>
          </p:nvPr>
        </p:nvSpPr>
        <p:spPr/>
        <p:txBody>
          <a:bodyPr/>
          <a:lstStyle/>
          <a:p>
            <a:fld id="{7A09961E-FFF3-4B01-BE53-FABF9F8371DC}" type="slidenum">
              <a:rPr lang="en-US" smtClean="0"/>
              <a:t>‹#›</a:t>
            </a:fld>
            <a:endParaRPr lang="en-US"/>
          </a:p>
        </p:txBody>
      </p:sp>
    </p:spTree>
    <p:extLst>
      <p:ext uri="{BB962C8B-B14F-4D97-AF65-F5344CB8AC3E}">
        <p14:creationId xmlns:p14="http://schemas.microsoft.com/office/powerpoint/2010/main" val="3446161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BD3BC9-EAAB-76B4-F163-1621C325AFC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387A3D-CB4A-D520-5517-0AB5652605A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CE1AE9-465E-B3EB-2946-8079B731537F}"/>
              </a:ext>
            </a:extLst>
          </p:cNvPr>
          <p:cNvSpPr>
            <a:spLocks noGrp="1"/>
          </p:cNvSpPr>
          <p:nvPr>
            <p:ph type="dt" sz="half" idx="10"/>
          </p:nvPr>
        </p:nvSpPr>
        <p:spPr/>
        <p:txBody>
          <a:bodyPr/>
          <a:lstStyle/>
          <a:p>
            <a:fld id="{19A2EF0E-B526-416E-B076-D39C2D7CD855}" type="datetimeFigureOut">
              <a:rPr lang="en-US" smtClean="0"/>
              <a:t>5/19/2023</a:t>
            </a:fld>
            <a:endParaRPr lang="en-US"/>
          </a:p>
        </p:txBody>
      </p:sp>
      <p:sp>
        <p:nvSpPr>
          <p:cNvPr id="5" name="Footer Placeholder 4">
            <a:extLst>
              <a:ext uri="{FF2B5EF4-FFF2-40B4-BE49-F238E27FC236}">
                <a16:creationId xmlns:a16="http://schemas.microsoft.com/office/drawing/2014/main" id="{57D7F6F0-EFBB-5D20-BA17-DA9CDFF7C6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24E8C1-F7E2-0AD8-230A-735CD21597EA}"/>
              </a:ext>
            </a:extLst>
          </p:cNvPr>
          <p:cNvSpPr>
            <a:spLocks noGrp="1"/>
          </p:cNvSpPr>
          <p:nvPr>
            <p:ph type="sldNum" sz="quarter" idx="12"/>
          </p:nvPr>
        </p:nvSpPr>
        <p:spPr/>
        <p:txBody>
          <a:bodyPr/>
          <a:lstStyle/>
          <a:p>
            <a:fld id="{7A09961E-FFF3-4B01-BE53-FABF9F8371DC}" type="slidenum">
              <a:rPr lang="en-US" smtClean="0"/>
              <a:t>‹#›</a:t>
            </a:fld>
            <a:endParaRPr lang="en-US"/>
          </a:p>
        </p:txBody>
      </p:sp>
    </p:spTree>
    <p:extLst>
      <p:ext uri="{BB962C8B-B14F-4D97-AF65-F5344CB8AC3E}">
        <p14:creationId xmlns:p14="http://schemas.microsoft.com/office/powerpoint/2010/main" val="87654026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22B0F2-F10B-7210-36C3-C1244921811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EE31F39-5E85-BE9B-332C-A125B78D040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744345C-FEE3-842D-2B0D-40E031A6A041}"/>
              </a:ext>
            </a:extLst>
          </p:cNvPr>
          <p:cNvSpPr>
            <a:spLocks noGrp="1"/>
          </p:cNvSpPr>
          <p:nvPr>
            <p:ph type="dt" sz="half" idx="10"/>
          </p:nvPr>
        </p:nvSpPr>
        <p:spPr/>
        <p:txBody>
          <a:bodyPr/>
          <a:lstStyle/>
          <a:p>
            <a:fld id="{19A2EF0E-B526-416E-B076-D39C2D7CD855}" type="datetimeFigureOut">
              <a:rPr lang="en-US" smtClean="0"/>
              <a:t>5/19/2023</a:t>
            </a:fld>
            <a:endParaRPr lang="en-US"/>
          </a:p>
        </p:txBody>
      </p:sp>
      <p:sp>
        <p:nvSpPr>
          <p:cNvPr id="5" name="Footer Placeholder 4">
            <a:extLst>
              <a:ext uri="{FF2B5EF4-FFF2-40B4-BE49-F238E27FC236}">
                <a16:creationId xmlns:a16="http://schemas.microsoft.com/office/drawing/2014/main" id="{E20DACE0-CB1A-09D2-9F1E-B87AEA1F32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F265C4-3EA3-DF71-264F-53CDC57FFEBC}"/>
              </a:ext>
            </a:extLst>
          </p:cNvPr>
          <p:cNvSpPr>
            <a:spLocks noGrp="1"/>
          </p:cNvSpPr>
          <p:nvPr>
            <p:ph type="sldNum" sz="quarter" idx="12"/>
          </p:nvPr>
        </p:nvSpPr>
        <p:spPr/>
        <p:txBody>
          <a:bodyPr/>
          <a:lstStyle/>
          <a:p>
            <a:fld id="{7A09961E-FFF3-4B01-BE53-FABF9F8371DC}" type="slidenum">
              <a:rPr lang="en-US" smtClean="0"/>
              <a:t>‹#›</a:t>
            </a:fld>
            <a:endParaRPr lang="en-US"/>
          </a:p>
        </p:txBody>
      </p:sp>
    </p:spTree>
    <p:extLst>
      <p:ext uri="{BB962C8B-B14F-4D97-AF65-F5344CB8AC3E}">
        <p14:creationId xmlns:p14="http://schemas.microsoft.com/office/powerpoint/2010/main" val="307007504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99875-C9C1-4E07-91C9-A532C36B1F7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A4E255A-7A18-DD9F-DF40-BE6CE00FE63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9E0B003-8B48-52E2-C7DF-F8117D7F29D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77C85A2-2CC6-EFB4-B41F-9F34C773AC8E}"/>
              </a:ext>
            </a:extLst>
          </p:cNvPr>
          <p:cNvSpPr>
            <a:spLocks noGrp="1"/>
          </p:cNvSpPr>
          <p:nvPr>
            <p:ph type="dt" sz="half" idx="10"/>
          </p:nvPr>
        </p:nvSpPr>
        <p:spPr/>
        <p:txBody>
          <a:bodyPr/>
          <a:lstStyle/>
          <a:p>
            <a:fld id="{19A2EF0E-B526-416E-B076-D39C2D7CD855}" type="datetimeFigureOut">
              <a:rPr lang="en-US" smtClean="0"/>
              <a:t>5/19/2023</a:t>
            </a:fld>
            <a:endParaRPr lang="en-US"/>
          </a:p>
        </p:txBody>
      </p:sp>
      <p:sp>
        <p:nvSpPr>
          <p:cNvPr id="6" name="Footer Placeholder 5">
            <a:extLst>
              <a:ext uri="{FF2B5EF4-FFF2-40B4-BE49-F238E27FC236}">
                <a16:creationId xmlns:a16="http://schemas.microsoft.com/office/drawing/2014/main" id="{4DC67278-3E6E-2F26-572A-0B8CAD9BF62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6A89C2F-369C-30CA-4DBA-B1836C7643BF}"/>
              </a:ext>
            </a:extLst>
          </p:cNvPr>
          <p:cNvSpPr>
            <a:spLocks noGrp="1"/>
          </p:cNvSpPr>
          <p:nvPr>
            <p:ph type="sldNum" sz="quarter" idx="12"/>
          </p:nvPr>
        </p:nvSpPr>
        <p:spPr/>
        <p:txBody>
          <a:bodyPr/>
          <a:lstStyle/>
          <a:p>
            <a:fld id="{7A09961E-FFF3-4B01-BE53-FABF9F8371DC}" type="slidenum">
              <a:rPr lang="en-US" smtClean="0"/>
              <a:t>‹#›</a:t>
            </a:fld>
            <a:endParaRPr lang="en-US"/>
          </a:p>
        </p:txBody>
      </p:sp>
    </p:spTree>
    <p:extLst>
      <p:ext uri="{BB962C8B-B14F-4D97-AF65-F5344CB8AC3E}">
        <p14:creationId xmlns:p14="http://schemas.microsoft.com/office/powerpoint/2010/main" val="40201326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A1F410-AACD-92CD-6BBB-AE7E303A79B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05617D9-6493-6147-F3BB-2DA25D30EE3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1124DB9-EEE7-8588-0A29-09099A94EB0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EBCAB6C-9F9B-A229-9D7C-DEA7ADE9832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5697C6-1971-BE15-7FB4-904601EF929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0D7FB92-CA51-0424-2036-C414C4A3DE9A}"/>
              </a:ext>
            </a:extLst>
          </p:cNvPr>
          <p:cNvSpPr>
            <a:spLocks noGrp="1"/>
          </p:cNvSpPr>
          <p:nvPr>
            <p:ph type="dt" sz="half" idx="10"/>
          </p:nvPr>
        </p:nvSpPr>
        <p:spPr/>
        <p:txBody>
          <a:bodyPr/>
          <a:lstStyle/>
          <a:p>
            <a:fld id="{19A2EF0E-B526-416E-B076-D39C2D7CD855}" type="datetimeFigureOut">
              <a:rPr lang="en-US" smtClean="0"/>
              <a:t>5/19/2023</a:t>
            </a:fld>
            <a:endParaRPr lang="en-US"/>
          </a:p>
        </p:txBody>
      </p:sp>
      <p:sp>
        <p:nvSpPr>
          <p:cNvPr id="8" name="Footer Placeholder 7">
            <a:extLst>
              <a:ext uri="{FF2B5EF4-FFF2-40B4-BE49-F238E27FC236}">
                <a16:creationId xmlns:a16="http://schemas.microsoft.com/office/drawing/2014/main" id="{AA82393F-2DD9-8D73-1F53-8F8E373930B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9DAFC87-9183-EECF-C8D1-453B62BEF79C}"/>
              </a:ext>
            </a:extLst>
          </p:cNvPr>
          <p:cNvSpPr>
            <a:spLocks noGrp="1"/>
          </p:cNvSpPr>
          <p:nvPr>
            <p:ph type="sldNum" sz="quarter" idx="12"/>
          </p:nvPr>
        </p:nvSpPr>
        <p:spPr/>
        <p:txBody>
          <a:bodyPr/>
          <a:lstStyle/>
          <a:p>
            <a:fld id="{7A09961E-FFF3-4B01-BE53-FABF9F8371DC}" type="slidenum">
              <a:rPr lang="en-US" smtClean="0"/>
              <a:t>‹#›</a:t>
            </a:fld>
            <a:endParaRPr lang="en-US"/>
          </a:p>
        </p:txBody>
      </p:sp>
    </p:spTree>
    <p:extLst>
      <p:ext uri="{BB962C8B-B14F-4D97-AF65-F5344CB8AC3E}">
        <p14:creationId xmlns:p14="http://schemas.microsoft.com/office/powerpoint/2010/main" val="20040839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E0294-C8B6-3619-42D7-128B1F8E08E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7CA3C63-0B5A-5619-3536-B2BC0F19FF88}"/>
              </a:ext>
            </a:extLst>
          </p:cNvPr>
          <p:cNvSpPr>
            <a:spLocks noGrp="1"/>
          </p:cNvSpPr>
          <p:nvPr>
            <p:ph type="dt" sz="half" idx="10"/>
          </p:nvPr>
        </p:nvSpPr>
        <p:spPr/>
        <p:txBody>
          <a:bodyPr/>
          <a:lstStyle/>
          <a:p>
            <a:fld id="{19A2EF0E-B526-416E-B076-D39C2D7CD855}" type="datetimeFigureOut">
              <a:rPr lang="en-US" smtClean="0"/>
              <a:t>5/19/2023</a:t>
            </a:fld>
            <a:endParaRPr lang="en-US"/>
          </a:p>
        </p:txBody>
      </p:sp>
      <p:sp>
        <p:nvSpPr>
          <p:cNvPr id="4" name="Footer Placeholder 3">
            <a:extLst>
              <a:ext uri="{FF2B5EF4-FFF2-40B4-BE49-F238E27FC236}">
                <a16:creationId xmlns:a16="http://schemas.microsoft.com/office/drawing/2014/main" id="{C07D2FD8-E1D6-069B-1F40-0162DE0AD87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54FC186-DF9B-425E-DF7C-3F9DEE650843}"/>
              </a:ext>
            </a:extLst>
          </p:cNvPr>
          <p:cNvSpPr>
            <a:spLocks noGrp="1"/>
          </p:cNvSpPr>
          <p:nvPr>
            <p:ph type="sldNum" sz="quarter" idx="12"/>
          </p:nvPr>
        </p:nvSpPr>
        <p:spPr/>
        <p:txBody>
          <a:bodyPr/>
          <a:lstStyle/>
          <a:p>
            <a:fld id="{7A09961E-FFF3-4B01-BE53-FABF9F8371DC}" type="slidenum">
              <a:rPr lang="en-US" smtClean="0"/>
              <a:t>‹#›</a:t>
            </a:fld>
            <a:endParaRPr lang="en-US"/>
          </a:p>
        </p:txBody>
      </p:sp>
    </p:spTree>
    <p:extLst>
      <p:ext uri="{BB962C8B-B14F-4D97-AF65-F5344CB8AC3E}">
        <p14:creationId xmlns:p14="http://schemas.microsoft.com/office/powerpoint/2010/main" val="372295280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85A5CD5-938F-C51F-D7D6-55E271E7C1D2}"/>
              </a:ext>
            </a:extLst>
          </p:cNvPr>
          <p:cNvSpPr>
            <a:spLocks noGrp="1"/>
          </p:cNvSpPr>
          <p:nvPr>
            <p:ph type="dt" sz="half" idx="10"/>
          </p:nvPr>
        </p:nvSpPr>
        <p:spPr/>
        <p:txBody>
          <a:bodyPr/>
          <a:lstStyle/>
          <a:p>
            <a:fld id="{19A2EF0E-B526-416E-B076-D39C2D7CD855}" type="datetimeFigureOut">
              <a:rPr lang="en-US" smtClean="0"/>
              <a:t>5/19/2023</a:t>
            </a:fld>
            <a:endParaRPr lang="en-US"/>
          </a:p>
        </p:txBody>
      </p:sp>
      <p:sp>
        <p:nvSpPr>
          <p:cNvPr id="3" name="Footer Placeholder 2">
            <a:extLst>
              <a:ext uri="{FF2B5EF4-FFF2-40B4-BE49-F238E27FC236}">
                <a16:creationId xmlns:a16="http://schemas.microsoft.com/office/drawing/2014/main" id="{973D3B4A-8BE6-3E23-8F88-07307B3D1BD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7ED77FC-4773-34C9-A9AD-557E896D5E0D}"/>
              </a:ext>
            </a:extLst>
          </p:cNvPr>
          <p:cNvSpPr>
            <a:spLocks noGrp="1"/>
          </p:cNvSpPr>
          <p:nvPr>
            <p:ph type="sldNum" sz="quarter" idx="12"/>
          </p:nvPr>
        </p:nvSpPr>
        <p:spPr/>
        <p:txBody>
          <a:bodyPr/>
          <a:lstStyle/>
          <a:p>
            <a:fld id="{7A09961E-FFF3-4B01-BE53-FABF9F8371DC}" type="slidenum">
              <a:rPr lang="en-US" smtClean="0"/>
              <a:t>‹#›</a:t>
            </a:fld>
            <a:endParaRPr lang="en-US"/>
          </a:p>
        </p:txBody>
      </p:sp>
    </p:spTree>
    <p:extLst>
      <p:ext uri="{BB962C8B-B14F-4D97-AF65-F5344CB8AC3E}">
        <p14:creationId xmlns:p14="http://schemas.microsoft.com/office/powerpoint/2010/main" val="17769042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CC21E-EE7C-B552-C8DF-8C9C57643E5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6512BB8-78FF-7066-D495-F9F27B56563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35E07EE-70C6-50F5-0CCC-586F08D57B8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23CD080-B34C-0DB7-ADF1-96D2558107C2}"/>
              </a:ext>
            </a:extLst>
          </p:cNvPr>
          <p:cNvSpPr>
            <a:spLocks noGrp="1"/>
          </p:cNvSpPr>
          <p:nvPr>
            <p:ph type="dt" sz="half" idx="10"/>
          </p:nvPr>
        </p:nvSpPr>
        <p:spPr/>
        <p:txBody>
          <a:bodyPr/>
          <a:lstStyle/>
          <a:p>
            <a:fld id="{19A2EF0E-B526-416E-B076-D39C2D7CD855}" type="datetimeFigureOut">
              <a:rPr lang="en-US" smtClean="0"/>
              <a:t>5/19/2023</a:t>
            </a:fld>
            <a:endParaRPr lang="en-US"/>
          </a:p>
        </p:txBody>
      </p:sp>
      <p:sp>
        <p:nvSpPr>
          <p:cNvPr id="6" name="Footer Placeholder 5">
            <a:extLst>
              <a:ext uri="{FF2B5EF4-FFF2-40B4-BE49-F238E27FC236}">
                <a16:creationId xmlns:a16="http://schemas.microsoft.com/office/drawing/2014/main" id="{5B59E430-4BC1-F8BB-8C85-5AF618CE310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1CBB39-2D77-4057-50C1-570A4348D04D}"/>
              </a:ext>
            </a:extLst>
          </p:cNvPr>
          <p:cNvSpPr>
            <a:spLocks noGrp="1"/>
          </p:cNvSpPr>
          <p:nvPr>
            <p:ph type="sldNum" sz="quarter" idx="12"/>
          </p:nvPr>
        </p:nvSpPr>
        <p:spPr/>
        <p:txBody>
          <a:bodyPr/>
          <a:lstStyle/>
          <a:p>
            <a:fld id="{7A09961E-FFF3-4B01-BE53-FABF9F8371DC}" type="slidenum">
              <a:rPr lang="en-US" smtClean="0"/>
              <a:t>‹#›</a:t>
            </a:fld>
            <a:endParaRPr lang="en-US"/>
          </a:p>
        </p:txBody>
      </p:sp>
    </p:spTree>
    <p:extLst>
      <p:ext uri="{BB962C8B-B14F-4D97-AF65-F5344CB8AC3E}">
        <p14:creationId xmlns:p14="http://schemas.microsoft.com/office/powerpoint/2010/main" val="26819537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4D2BB-8A81-B65E-2525-081194959C4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D63FE39-F307-6036-9671-3FFB2DD78F6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9AEF616-2CD5-7E12-984F-C915445FB2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BE76B54-1513-4860-EB6E-70DE3AA2E317}"/>
              </a:ext>
            </a:extLst>
          </p:cNvPr>
          <p:cNvSpPr>
            <a:spLocks noGrp="1"/>
          </p:cNvSpPr>
          <p:nvPr>
            <p:ph type="dt" sz="half" idx="10"/>
          </p:nvPr>
        </p:nvSpPr>
        <p:spPr/>
        <p:txBody>
          <a:bodyPr/>
          <a:lstStyle/>
          <a:p>
            <a:fld id="{19A2EF0E-B526-416E-B076-D39C2D7CD855}" type="datetimeFigureOut">
              <a:rPr lang="en-US" smtClean="0"/>
              <a:t>5/19/2023</a:t>
            </a:fld>
            <a:endParaRPr lang="en-US"/>
          </a:p>
        </p:txBody>
      </p:sp>
      <p:sp>
        <p:nvSpPr>
          <p:cNvPr id="6" name="Footer Placeholder 5">
            <a:extLst>
              <a:ext uri="{FF2B5EF4-FFF2-40B4-BE49-F238E27FC236}">
                <a16:creationId xmlns:a16="http://schemas.microsoft.com/office/drawing/2014/main" id="{3961D849-9E2A-A9F9-05BD-539E570F0C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7C2E4B6-E6D7-FB32-7394-C37966F68602}"/>
              </a:ext>
            </a:extLst>
          </p:cNvPr>
          <p:cNvSpPr>
            <a:spLocks noGrp="1"/>
          </p:cNvSpPr>
          <p:nvPr>
            <p:ph type="sldNum" sz="quarter" idx="12"/>
          </p:nvPr>
        </p:nvSpPr>
        <p:spPr/>
        <p:txBody>
          <a:bodyPr/>
          <a:lstStyle/>
          <a:p>
            <a:fld id="{7A09961E-FFF3-4B01-BE53-FABF9F8371DC}" type="slidenum">
              <a:rPr lang="en-US" smtClean="0"/>
              <a:t>‹#›</a:t>
            </a:fld>
            <a:endParaRPr lang="en-US"/>
          </a:p>
        </p:txBody>
      </p:sp>
    </p:spTree>
    <p:extLst>
      <p:ext uri="{BB962C8B-B14F-4D97-AF65-F5344CB8AC3E}">
        <p14:creationId xmlns:p14="http://schemas.microsoft.com/office/powerpoint/2010/main" val="6419677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F7FA3-1C92-0EE3-4541-03D5B798E5C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99410DD-9C6B-7A1D-4E72-99C0B72981A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52B1F4-A35F-CD32-A528-EE0AE18F8922}"/>
              </a:ext>
            </a:extLst>
          </p:cNvPr>
          <p:cNvSpPr>
            <a:spLocks noGrp="1"/>
          </p:cNvSpPr>
          <p:nvPr>
            <p:ph type="dt" sz="half" idx="10"/>
          </p:nvPr>
        </p:nvSpPr>
        <p:spPr/>
        <p:txBody>
          <a:bodyPr/>
          <a:lstStyle/>
          <a:p>
            <a:fld id="{19A2EF0E-B526-416E-B076-D39C2D7CD855}" type="datetimeFigureOut">
              <a:rPr lang="en-US" smtClean="0"/>
              <a:t>5/19/2023</a:t>
            </a:fld>
            <a:endParaRPr lang="en-US"/>
          </a:p>
        </p:txBody>
      </p:sp>
      <p:sp>
        <p:nvSpPr>
          <p:cNvPr id="5" name="Footer Placeholder 4">
            <a:extLst>
              <a:ext uri="{FF2B5EF4-FFF2-40B4-BE49-F238E27FC236}">
                <a16:creationId xmlns:a16="http://schemas.microsoft.com/office/drawing/2014/main" id="{5C98B3D1-5968-D914-F9F9-CF082A079BF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871B25-456E-466A-A179-BAB69109315B}"/>
              </a:ext>
            </a:extLst>
          </p:cNvPr>
          <p:cNvSpPr>
            <a:spLocks noGrp="1"/>
          </p:cNvSpPr>
          <p:nvPr>
            <p:ph type="sldNum" sz="quarter" idx="12"/>
          </p:nvPr>
        </p:nvSpPr>
        <p:spPr/>
        <p:txBody>
          <a:bodyPr/>
          <a:lstStyle/>
          <a:p>
            <a:fld id="{7A09961E-FFF3-4B01-BE53-FABF9F8371DC}" type="slidenum">
              <a:rPr lang="en-US" smtClean="0"/>
              <a:t>‹#›</a:t>
            </a:fld>
            <a:endParaRPr lang="en-US"/>
          </a:p>
        </p:txBody>
      </p:sp>
    </p:spTree>
    <p:extLst>
      <p:ext uri="{BB962C8B-B14F-4D97-AF65-F5344CB8AC3E}">
        <p14:creationId xmlns:p14="http://schemas.microsoft.com/office/powerpoint/2010/main" val="37431864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5043C4A-F163-38CE-4772-2C30F00C3A6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B44489E-2C51-56B0-7675-4AEA345A478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7A87B4-94DE-582E-EF01-03823C07D5F9}"/>
              </a:ext>
            </a:extLst>
          </p:cNvPr>
          <p:cNvSpPr>
            <a:spLocks noGrp="1"/>
          </p:cNvSpPr>
          <p:nvPr>
            <p:ph type="dt" sz="half" idx="10"/>
          </p:nvPr>
        </p:nvSpPr>
        <p:spPr/>
        <p:txBody>
          <a:bodyPr/>
          <a:lstStyle/>
          <a:p>
            <a:fld id="{19A2EF0E-B526-416E-B076-D39C2D7CD855}" type="datetimeFigureOut">
              <a:rPr lang="en-US" smtClean="0"/>
              <a:t>5/19/2023</a:t>
            </a:fld>
            <a:endParaRPr lang="en-US"/>
          </a:p>
        </p:txBody>
      </p:sp>
      <p:sp>
        <p:nvSpPr>
          <p:cNvPr id="5" name="Footer Placeholder 4">
            <a:extLst>
              <a:ext uri="{FF2B5EF4-FFF2-40B4-BE49-F238E27FC236}">
                <a16:creationId xmlns:a16="http://schemas.microsoft.com/office/drawing/2014/main" id="{E4058CFA-B790-C318-3E7E-104583634B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B328B6-C7D0-D70C-0BC9-C647CEB604AB}"/>
              </a:ext>
            </a:extLst>
          </p:cNvPr>
          <p:cNvSpPr>
            <a:spLocks noGrp="1"/>
          </p:cNvSpPr>
          <p:nvPr>
            <p:ph type="sldNum" sz="quarter" idx="12"/>
          </p:nvPr>
        </p:nvSpPr>
        <p:spPr/>
        <p:txBody>
          <a:bodyPr/>
          <a:lstStyle/>
          <a:p>
            <a:fld id="{7A09961E-FFF3-4B01-BE53-FABF9F8371DC}" type="slidenum">
              <a:rPr lang="en-US" smtClean="0"/>
              <a:t>‹#›</a:t>
            </a:fld>
            <a:endParaRPr lang="en-US"/>
          </a:p>
        </p:txBody>
      </p:sp>
    </p:spTree>
    <p:extLst>
      <p:ext uri="{BB962C8B-B14F-4D97-AF65-F5344CB8AC3E}">
        <p14:creationId xmlns:p14="http://schemas.microsoft.com/office/powerpoint/2010/main" val="422786833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47058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639625"/>
          </a:xfrm>
          <a:prstGeom prst="rect">
            <a:avLst/>
          </a:prstGeom>
        </p:spPr>
        <p:txBody>
          <a:bodyPr lIns="0" tIns="0" rIns="0" bIns="0">
            <a:noAutofit/>
          </a:bodyPr>
          <a:lstStyle>
            <a:lvl1pPr marL="0" indent="0">
              <a:buNone/>
              <a:defRPr sz="12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pic>
        <p:nvPicPr>
          <p:cNvPr id="7" name="Picture 6">
            <a:extLst>
              <a:ext uri="{FF2B5EF4-FFF2-40B4-BE49-F238E27FC236}">
                <a16:creationId xmlns:a16="http://schemas.microsoft.com/office/drawing/2014/main" id="{5A6B59E8-FEED-4491-92FA-84D3213DF14D}"/>
              </a:ext>
            </a:extLst>
          </p:cNvPr>
          <p:cNvPicPr>
            <a:picLocks noChangeAspect="1"/>
          </p:cNvPicPr>
          <p:nvPr userDrawn="1"/>
        </p:nvPicPr>
        <p:blipFill>
          <a:blip r:embed="rId2"/>
          <a:stretch>
            <a:fillRect/>
          </a:stretch>
        </p:blipFill>
        <p:spPr>
          <a:xfrm>
            <a:off x="9818687" y="296257"/>
            <a:ext cx="2159736" cy="401037"/>
          </a:xfrm>
          <a:prstGeom prst="rect">
            <a:avLst/>
          </a:prstGeom>
        </p:spPr>
      </p:pic>
    </p:spTree>
    <p:extLst>
      <p:ext uri="{BB962C8B-B14F-4D97-AF65-F5344CB8AC3E}">
        <p14:creationId xmlns:p14="http://schemas.microsoft.com/office/powerpoint/2010/main" val="376069388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8 Deloitte Development LLC. All rights reserved.</a:t>
            </a:r>
          </a:p>
        </p:txBody>
      </p:sp>
    </p:spTree>
    <p:extLst>
      <p:ext uri="{BB962C8B-B14F-4D97-AF65-F5344CB8AC3E}">
        <p14:creationId xmlns:p14="http://schemas.microsoft.com/office/powerpoint/2010/main" val="21045741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Copyright © 2016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6"/>
            </p:custDataLst>
            <p:extLst>
              <p:ext uri="{D42A27DB-BD31-4B8C-83A1-F6EECF244321}">
                <p14:modId xmlns:p14="http://schemas.microsoft.com/office/powerpoint/2010/main" val="16168550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7" imgW="270" imgH="270" progId="TCLayout.ActiveDocument.1">
                  <p:embed/>
                </p:oleObj>
              </mc:Choice>
              <mc:Fallback>
                <p:oleObj name="think-cell Slide" r:id="rId47" imgW="270" imgH="270" progId="TCLayout.ActiveDocument.1">
                  <p:embed/>
                  <p:pic>
                    <p:nvPicPr>
                      <p:cNvPr id="4" name="Object 3" hidden="1"/>
                      <p:cNvPicPr/>
                      <p:nvPr/>
                    </p:nvPicPr>
                    <p:blipFill>
                      <a:blip r:embed="rId48"/>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aseCode"/>
          <p:cNvSpPr txBox="1"/>
          <p:nvPr userDrawn="1"/>
        </p:nvSpPr>
        <p:spPr>
          <a:xfrm>
            <a:off x="469900" y="6476999"/>
            <a:ext cx="10762660" cy="223138"/>
          </a:xfrm>
          <a:prstGeom prst="rect">
            <a:avLst/>
          </a:prstGeom>
          <a:noFill/>
        </p:spPr>
        <p:txBody>
          <a:bodyPr wrap="square" lIns="0" tIns="0" rIns="0" bIns="0" rtlCol="0">
            <a:spAutoFit/>
          </a:bodyPr>
          <a:lstStyle/>
          <a:p>
            <a:r>
              <a:rPr lang="en-US" sz="800">
                <a:latin typeface="Calibri" panose="020F0502020204030204" pitchFamily="34" charset="0"/>
                <a:cs typeface="Calibri" panose="020F0502020204030204" pitchFamily="34" charset="0"/>
              </a:rPr>
              <a:t>This presentation is intended solely for the information and internal use of the State of Tennessee and is not intended to be and should not be used by any other person or entity.</a:t>
            </a:r>
          </a:p>
          <a:p>
            <a:pPr marL="0" indent="0" algn="r">
              <a:spcBef>
                <a:spcPts val="0"/>
              </a:spcBef>
              <a:buSzPct val="100000"/>
              <a:buFont typeface="Arial"/>
              <a:buNone/>
            </a:pPr>
            <a:endParaRPr lang="en-US" sz="650" b="0" noProof="0">
              <a:solidFill>
                <a:schemeClr val="tx1"/>
              </a:solidFill>
            </a:endParaRP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cSld>
  <p:clrMap bg1="lt1" tx1="dk1" bg2="lt2" tx2="dk2" accent1="accent1" accent2="accent2" accent3="accent3" accent4="accent4" accent5="accent5" accent6="accent6" hlink="hlink" folHlink="folHlink"/>
  <p:sldLayoutIdLst>
    <p:sldLayoutId id="2147483679" r:id="rId1"/>
    <p:sldLayoutId id="2147483701" r:id="rId2"/>
    <p:sldLayoutId id="2147483702" r:id="rId3"/>
    <p:sldLayoutId id="2147483755" r:id="rId4"/>
    <p:sldLayoutId id="2147483756" r:id="rId5"/>
    <p:sldLayoutId id="2147483703" r:id="rId6"/>
    <p:sldLayoutId id="2147483704" r:id="rId7"/>
    <p:sldLayoutId id="2147483705" r:id="rId8"/>
    <p:sldLayoutId id="2147483706" r:id="rId9"/>
    <p:sldLayoutId id="2147483707" r:id="rId10"/>
    <p:sldLayoutId id="2147483713" r:id="rId11"/>
    <p:sldLayoutId id="2147483708" r:id="rId12"/>
    <p:sldLayoutId id="2147483710" r:id="rId13"/>
    <p:sldLayoutId id="2147483754" r:id="rId14"/>
    <p:sldLayoutId id="2147483711" r:id="rId15"/>
    <p:sldLayoutId id="2147483753" r:id="rId16"/>
    <p:sldLayoutId id="2147483712" r:id="rId17"/>
    <p:sldLayoutId id="2147483678" r:id="rId18"/>
    <p:sldLayoutId id="2147483681" r:id="rId19"/>
    <p:sldLayoutId id="2147483735" r:id="rId20"/>
    <p:sldLayoutId id="2147483699" r:id="rId21"/>
    <p:sldLayoutId id="2147483714" r:id="rId22"/>
    <p:sldLayoutId id="2147483697" r:id="rId23"/>
    <p:sldLayoutId id="2147483718" r:id="rId24"/>
    <p:sldLayoutId id="2147483715" r:id="rId25"/>
    <p:sldLayoutId id="2147483716" r:id="rId26"/>
    <p:sldLayoutId id="2147483717" r:id="rId27"/>
    <p:sldLayoutId id="2147483728" r:id="rId28"/>
    <p:sldLayoutId id="2147483720" r:id="rId29"/>
    <p:sldLayoutId id="2147483721" r:id="rId30"/>
    <p:sldLayoutId id="2147483722" r:id="rId31"/>
    <p:sldLayoutId id="2147483695" r:id="rId32"/>
    <p:sldLayoutId id="2147483751" r:id="rId33"/>
    <p:sldLayoutId id="2147483758" r:id="rId34"/>
    <p:sldLayoutId id="2147483724" r:id="rId35"/>
    <p:sldLayoutId id="2147483759" r:id="rId36"/>
    <p:sldLayoutId id="2147483757" r:id="rId37"/>
    <p:sldLayoutId id="2147483725" r:id="rId38"/>
    <p:sldLayoutId id="2147483726" r:id="rId39"/>
    <p:sldLayoutId id="2147483727" r:id="rId40"/>
    <p:sldLayoutId id="2147483698" r:id="rId41"/>
    <p:sldLayoutId id="2147483752" r:id="rId42"/>
    <p:sldLayoutId id="2147483696" r:id="rId43"/>
    <p:sldLayoutId id="2147483760" r:id="rId44"/>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5C96C57-1C95-CE69-1900-6A30220A660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84325CA-7475-309A-2683-41644F9499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821BFC-5094-C94B-84B2-B370493AC1E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A2EF0E-B526-416E-B076-D39C2D7CD855}" type="datetimeFigureOut">
              <a:rPr lang="en-US" smtClean="0"/>
              <a:t>5/19/2023</a:t>
            </a:fld>
            <a:endParaRPr lang="en-US"/>
          </a:p>
        </p:txBody>
      </p:sp>
      <p:sp>
        <p:nvSpPr>
          <p:cNvPr id="5" name="Footer Placeholder 4">
            <a:extLst>
              <a:ext uri="{FF2B5EF4-FFF2-40B4-BE49-F238E27FC236}">
                <a16:creationId xmlns:a16="http://schemas.microsoft.com/office/drawing/2014/main" id="{648A291C-9484-4A89-DC9C-DD9BF405ED5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F0D97E0-9EBF-CC07-CF00-F8ED2EE930A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A09961E-FFF3-4B01-BE53-FABF9F8371DC}" type="slidenum">
              <a:rPr lang="en-US" smtClean="0"/>
              <a:t>‹#›</a:t>
            </a:fld>
            <a:endParaRPr lang="en-US"/>
          </a:p>
        </p:txBody>
      </p:sp>
    </p:spTree>
    <p:extLst>
      <p:ext uri="{BB962C8B-B14F-4D97-AF65-F5344CB8AC3E}">
        <p14:creationId xmlns:p14="http://schemas.microsoft.com/office/powerpoint/2010/main" val="3844357765"/>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hyperlink" Target="mailto:ncsr@tn.gov" TargetMode="Externa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6.svg"/></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mailto:NCSR@tn.gov" TargetMode="External"/><Relationship Id="rId7" Type="http://schemas.openxmlformats.org/officeDocument/2006/relationships/hyperlink" Target="https://www.nist.gov/cyberframework" TargetMode="External"/><Relationship Id="rId2" Type="http://schemas.openxmlformats.org/officeDocument/2006/relationships/notesSlide" Target="../notesSlides/notesSlide3.xml"/><Relationship Id="rId1" Type="http://schemas.openxmlformats.org/officeDocument/2006/relationships/slideLayout" Target="../slideLayouts/slideLayout56.xml"/><Relationship Id="rId6" Type="http://schemas.openxmlformats.org/officeDocument/2006/relationships/hyperlink" Target="https://cybersafetn.gov/" TargetMode="External"/><Relationship Id="rId5" Type="http://schemas.openxmlformats.org/officeDocument/2006/relationships/image" Target="../media/image7.png"/><Relationship Id="rId10" Type="http://schemas.openxmlformats.org/officeDocument/2006/relationships/image" Target="../media/image10.png"/><Relationship Id="rId4" Type="http://schemas.openxmlformats.org/officeDocument/2006/relationships/hyperlink" Target="https://www.cisecurity.org/ms-isac" TargetMode="External"/><Relationship Id="rId9" Type="http://schemas.openxmlformats.org/officeDocument/2006/relationships/image" Target="../media/image9.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3" Type="http://schemas.openxmlformats.org/officeDocument/2006/relationships/hyperlink" Target="mailto:ncsr@tn.gov" TargetMode="External"/><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75325" y="5330911"/>
            <a:ext cx="10497474" cy="505645"/>
          </a:xfrm>
        </p:spPr>
        <p:txBody>
          <a:bodyPr/>
          <a:lstStyle/>
          <a:p>
            <a:pPr>
              <a:spcAft>
                <a:spcPts val="600"/>
              </a:spcAft>
            </a:pPr>
            <a:r>
              <a:rPr lang="en-US" sz="1800" b="1"/>
              <a:t>State of Tennessee</a:t>
            </a:r>
          </a:p>
          <a:p>
            <a:pPr>
              <a:spcAft>
                <a:spcPts val="600"/>
              </a:spcAft>
            </a:pPr>
            <a:r>
              <a:rPr lang="en-US" sz="1800" b="1"/>
              <a:t>Strategic Technology Solutions (STS)</a:t>
            </a:r>
          </a:p>
          <a:p>
            <a:pPr>
              <a:spcAft>
                <a:spcPts val="600"/>
              </a:spcAft>
            </a:pPr>
            <a:r>
              <a:rPr lang="en-US" sz="1800"/>
              <a:t>Nationwide Cybersecurity Review (NCSR)</a:t>
            </a:r>
          </a:p>
        </p:txBody>
      </p:sp>
      <p:pic>
        <p:nvPicPr>
          <p:cNvPr id="5" name="Picture 4">
            <a:extLst>
              <a:ext uri="{FF2B5EF4-FFF2-40B4-BE49-F238E27FC236}">
                <a16:creationId xmlns:a16="http://schemas.microsoft.com/office/drawing/2014/main" id="{2D51E082-3B00-410E-9E40-98B6A9C07880}"/>
              </a:ext>
            </a:extLst>
          </p:cNvPr>
          <p:cNvPicPr>
            <a:picLocks noChangeAspect="1"/>
          </p:cNvPicPr>
          <p:nvPr/>
        </p:nvPicPr>
        <p:blipFill>
          <a:blip r:embed="rId3"/>
          <a:stretch>
            <a:fillRect/>
          </a:stretch>
        </p:blipFill>
        <p:spPr>
          <a:xfrm>
            <a:off x="8146125" y="352472"/>
            <a:ext cx="3565859" cy="662137"/>
          </a:xfrm>
          <a:prstGeom prst="rect">
            <a:avLst/>
          </a:prstGeom>
        </p:spPr>
      </p:pic>
      <p:pic>
        <p:nvPicPr>
          <p:cNvPr id="8" name="Picture 7" descr="Diagram, logo&#10;&#10;Description automatically generated">
            <a:extLst>
              <a:ext uri="{FF2B5EF4-FFF2-40B4-BE49-F238E27FC236}">
                <a16:creationId xmlns:a16="http://schemas.microsoft.com/office/drawing/2014/main" id="{974F5EAB-0959-48F2-A3E8-610E3564D055}"/>
              </a:ext>
            </a:extLst>
          </p:cNvPr>
          <p:cNvPicPr>
            <a:picLocks noChangeAspect="1"/>
          </p:cNvPicPr>
          <p:nvPr/>
        </p:nvPicPr>
        <p:blipFill>
          <a:blip r:embed="rId4"/>
          <a:stretch>
            <a:fillRect/>
          </a:stretch>
        </p:blipFill>
        <p:spPr>
          <a:xfrm>
            <a:off x="3648503" y="2459013"/>
            <a:ext cx="4894994" cy="1669907"/>
          </a:xfrm>
          <a:prstGeom prst="rect">
            <a:avLst/>
          </a:prstGeom>
        </p:spPr>
      </p:pic>
      <p:sp>
        <p:nvSpPr>
          <p:cNvPr id="4" name="Rectangle 3">
            <a:extLst>
              <a:ext uri="{FF2B5EF4-FFF2-40B4-BE49-F238E27FC236}">
                <a16:creationId xmlns:a16="http://schemas.microsoft.com/office/drawing/2014/main" id="{C8B3FB93-E069-229A-DE6C-A568CD67DC1C}"/>
              </a:ext>
            </a:extLst>
          </p:cNvPr>
          <p:cNvSpPr/>
          <p:nvPr/>
        </p:nvSpPr>
        <p:spPr bwMode="gray">
          <a:xfrm>
            <a:off x="2438400" y="6011032"/>
            <a:ext cx="7315200" cy="349979"/>
          </a:xfrm>
          <a:prstGeom prst="rect">
            <a:avLst/>
          </a:prstGeom>
          <a:solidFill>
            <a:srgbClr val="F2F2F2"/>
          </a:solidFill>
          <a:ln w="1270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en-US" sz="1200"/>
              <a:t>Are you interested in participating or have questions? Contact our team at </a:t>
            </a:r>
            <a:r>
              <a:rPr lang="en-US" sz="1200" b="1"/>
              <a:t>ncsr@tn.gov</a:t>
            </a:r>
            <a:endParaRPr lang="en-US" sz="1600" b="1">
              <a:solidFill>
                <a:schemeClr val="bg1"/>
              </a:solidFill>
            </a:endParaRPr>
          </a:p>
        </p:txBody>
      </p:sp>
      <p:sp>
        <p:nvSpPr>
          <p:cNvPr id="6" name="TextBox 5">
            <a:extLst>
              <a:ext uri="{FF2B5EF4-FFF2-40B4-BE49-F238E27FC236}">
                <a16:creationId xmlns:a16="http://schemas.microsoft.com/office/drawing/2014/main" id="{E203421C-D8F8-0923-0672-E74104483713}"/>
              </a:ext>
            </a:extLst>
          </p:cNvPr>
          <p:cNvSpPr txBox="1"/>
          <p:nvPr/>
        </p:nvSpPr>
        <p:spPr>
          <a:xfrm>
            <a:off x="8946526" y="1407917"/>
            <a:ext cx="2863402" cy="808683"/>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1" i="0" u="none" strike="noStrike" kern="1200" cap="none" spc="-10" normalizeH="0" baseline="0" noProof="0" dirty="0">
                <a:ln>
                  <a:noFill/>
                </a:ln>
                <a:solidFill>
                  <a:srgbClr val="1F497D"/>
                </a:solidFill>
                <a:effectLst/>
                <a:uLnTx/>
                <a:uFillTx/>
                <a:latin typeface="Open Sans" panose="020B0606030504020204" pitchFamily="34" charset="0"/>
                <a:ea typeface="Calibri" panose="020F0502020204030204" pitchFamily="34" charset="0"/>
                <a:cs typeface="Times New Roman" panose="02020603050405020304" pitchFamily="18" charset="0"/>
              </a:rPr>
              <a:t>Curtis Clan</a:t>
            </a:r>
          </a:p>
          <a:p>
            <a:pPr marL="0" marR="0" lvl="0" indent="0" algn="l" defTabSz="914400" rtl="0" eaLnBrk="1" fontAlgn="auto" latinLnBrk="0" hangingPunct="1">
              <a:lnSpc>
                <a:spcPct val="107000"/>
              </a:lnSpc>
              <a:spcBef>
                <a:spcPts val="0"/>
              </a:spcBef>
              <a:spcAft>
                <a:spcPts val="0"/>
              </a:spcAft>
              <a:buClrTx/>
              <a:buSzTx/>
              <a:buFontTx/>
              <a:buNone/>
              <a:tabLst/>
              <a:defRPr/>
            </a:pPr>
            <a:r>
              <a:rPr lang="en-US" sz="1100" spc="-10" dirty="0">
                <a:solidFill>
                  <a:srgbClr val="1F497D"/>
                </a:solidFill>
                <a:latin typeface="Open Sans" panose="020B0606030504020204" pitchFamily="34" charset="0"/>
                <a:ea typeface="Calibri" panose="020F0502020204030204" pitchFamily="34" charset="0"/>
                <a:cs typeface="Times New Roman" panose="02020603050405020304" pitchFamily="18" charset="0"/>
              </a:rPr>
              <a:t>State of Tennessee</a:t>
            </a:r>
            <a:endParaRPr kumimoji="0" lang="en-US" sz="1100" i="0" u="none" strike="noStrike" kern="1200" cap="none" spc="-10" normalizeH="0" baseline="0" noProof="0" dirty="0">
              <a:ln>
                <a:noFill/>
              </a:ln>
              <a:solidFill>
                <a:srgbClr val="000000"/>
              </a:solidFill>
              <a:effectLst/>
              <a:uLnTx/>
              <a:uFillTx/>
              <a:latin typeface="Open Sans" panose="020B0606030504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10" normalizeH="0" baseline="0" noProof="0" dirty="0">
                <a:ln>
                  <a:noFill/>
                </a:ln>
                <a:solidFill>
                  <a:srgbClr val="000000"/>
                </a:solidFill>
                <a:effectLst/>
                <a:uLnTx/>
                <a:uFillTx/>
                <a:latin typeface="Open Sans" panose="020B0606030504020204" pitchFamily="34" charset="0"/>
                <a:ea typeface="Calibri" panose="020F0502020204030204" pitchFamily="34" charset="0"/>
                <a:cs typeface="Times New Roman" panose="02020603050405020304" pitchFamily="18" charset="0"/>
              </a:rPr>
              <a:t>Chief Information Security Officer</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0" i="0" u="sng" strike="noStrike" kern="1200" cap="none" spc="-10" normalizeH="0" baseline="0" noProof="0" dirty="0">
                <a:ln>
                  <a:noFill/>
                </a:ln>
                <a:solidFill>
                  <a:srgbClr val="44546A"/>
                </a:solidFill>
                <a:effectLst/>
                <a:uLnTx/>
                <a:uFillTx/>
                <a:latin typeface="Open Sans" panose="020B0606030504020204" pitchFamily="34" charset="0"/>
                <a:ea typeface="Calibri" panose="020F0502020204030204" pitchFamily="34" charset="0"/>
                <a:cs typeface="Times New Roman" panose="02020603050405020304" pitchFamily="18" charset="0"/>
                <a:hlinkClick r:id="rId5"/>
              </a:rPr>
              <a:t>ncsr@tn.gov</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7" name="TextBox 6">
            <a:extLst>
              <a:ext uri="{FF2B5EF4-FFF2-40B4-BE49-F238E27FC236}">
                <a16:creationId xmlns:a16="http://schemas.microsoft.com/office/drawing/2014/main" id="{B9D2AF4C-37ED-0316-19E6-DB2C65240EB7}"/>
              </a:ext>
            </a:extLst>
          </p:cNvPr>
          <p:cNvSpPr txBox="1"/>
          <p:nvPr/>
        </p:nvSpPr>
        <p:spPr>
          <a:xfrm>
            <a:off x="8946525" y="2264363"/>
            <a:ext cx="2863402" cy="627544"/>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1" i="0" u="none" strike="noStrike" kern="1200" cap="none" spc="-10" normalizeH="0" baseline="0" noProof="0" dirty="0">
                <a:ln>
                  <a:noFill/>
                </a:ln>
                <a:solidFill>
                  <a:srgbClr val="1F497D"/>
                </a:solidFill>
                <a:effectLst/>
                <a:uLnTx/>
                <a:uFillTx/>
                <a:latin typeface="Open Sans" panose="020B0606030504020204" pitchFamily="34" charset="0"/>
                <a:ea typeface="Calibri" panose="020F0502020204030204" pitchFamily="34" charset="0"/>
                <a:cs typeface="Times New Roman" panose="02020603050405020304" pitchFamily="18" charset="0"/>
              </a:rPr>
              <a:t>James Cotter</a:t>
            </a:r>
          </a:p>
          <a:p>
            <a:pPr marL="0" marR="0" lvl="0" indent="0" algn="l" defTabSz="914400" rtl="0" eaLnBrk="1" fontAlgn="auto" latinLnBrk="0" hangingPunct="1">
              <a:lnSpc>
                <a:spcPct val="107000"/>
              </a:lnSpc>
              <a:spcBef>
                <a:spcPts val="0"/>
              </a:spcBef>
              <a:spcAft>
                <a:spcPts val="0"/>
              </a:spcAft>
              <a:buClrTx/>
              <a:buSzTx/>
              <a:buFontTx/>
              <a:buNone/>
              <a:tabLst/>
              <a:defRPr/>
            </a:pPr>
            <a:r>
              <a:rPr lang="en-US" sz="1100" spc="-10" dirty="0">
                <a:solidFill>
                  <a:srgbClr val="1F497D"/>
                </a:solidFill>
                <a:latin typeface="Open Sans" panose="020B0606030504020204" pitchFamily="34" charset="0"/>
                <a:ea typeface="Calibri" panose="020F0502020204030204" pitchFamily="34" charset="0"/>
                <a:cs typeface="Times New Roman" panose="02020603050405020304" pitchFamily="18" charset="0"/>
              </a:rPr>
              <a:t>State of Tennessee – Homeland Security</a:t>
            </a:r>
            <a:endParaRPr kumimoji="0" lang="en-US" sz="1100" i="0" u="none" strike="noStrike" kern="1200" cap="none" spc="-10" normalizeH="0" baseline="0" noProof="0" dirty="0">
              <a:ln>
                <a:noFill/>
              </a:ln>
              <a:solidFill>
                <a:srgbClr val="000000"/>
              </a:solidFill>
              <a:effectLst/>
              <a:uLnTx/>
              <a:uFillTx/>
              <a:latin typeface="Open Sans" panose="020B0606030504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10" normalizeH="0" baseline="0" noProof="0" dirty="0">
                <a:ln>
                  <a:noFill/>
                </a:ln>
                <a:solidFill>
                  <a:srgbClr val="000000"/>
                </a:solidFill>
                <a:effectLst/>
                <a:uLnTx/>
                <a:uFillTx/>
                <a:latin typeface="Open Sans" panose="020B0606030504020204" pitchFamily="34" charset="0"/>
                <a:ea typeface="Calibri" panose="020F0502020204030204" pitchFamily="34" charset="0"/>
                <a:cs typeface="Times New Roman" panose="02020603050405020304" pitchFamily="18" charset="0"/>
              </a:rPr>
              <a:t>Special Agent, Special Projects and Cyber</a:t>
            </a:r>
            <a:r>
              <a:rPr kumimoji="0" lang="en-US" sz="1100" b="0" i="0" u="sng" strike="noStrike" kern="1200" cap="none" spc="-10" normalizeH="0" baseline="0" noProof="0" dirty="0">
                <a:ln>
                  <a:noFill/>
                </a:ln>
                <a:solidFill>
                  <a:srgbClr val="44546A"/>
                </a:solidFill>
                <a:effectLst/>
                <a:uLnTx/>
                <a:uFillTx/>
                <a:latin typeface="Open Sans" panose="020B0606030504020204" pitchFamily="34" charset="0"/>
                <a:ea typeface="Calibri" panose="020F0502020204030204" pitchFamily="34" charset="0"/>
                <a:cs typeface="Times New Roman" panose="02020603050405020304" pitchFamily="18" charset="0"/>
              </a:rPr>
              <a:t> </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9" name="TextBox 8">
            <a:extLst>
              <a:ext uri="{FF2B5EF4-FFF2-40B4-BE49-F238E27FC236}">
                <a16:creationId xmlns:a16="http://schemas.microsoft.com/office/drawing/2014/main" id="{B40178A2-092E-C4A1-1909-0AA9A38C5BC0}"/>
              </a:ext>
            </a:extLst>
          </p:cNvPr>
          <p:cNvSpPr txBox="1"/>
          <p:nvPr/>
        </p:nvSpPr>
        <p:spPr>
          <a:xfrm>
            <a:off x="8946525" y="2944041"/>
            <a:ext cx="2863402" cy="627544"/>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1" i="0" u="none" strike="noStrike" kern="1200" cap="none" spc="-10" normalizeH="0" baseline="0" noProof="0" dirty="0">
                <a:ln>
                  <a:noFill/>
                </a:ln>
                <a:solidFill>
                  <a:srgbClr val="1F497D"/>
                </a:solidFill>
                <a:effectLst/>
                <a:uLnTx/>
                <a:uFillTx/>
                <a:latin typeface="Open Sans" panose="020B0606030504020204" pitchFamily="34" charset="0"/>
                <a:ea typeface="Calibri" panose="020F0502020204030204" pitchFamily="34" charset="0"/>
                <a:cs typeface="Times New Roman" panose="02020603050405020304" pitchFamily="18" charset="0"/>
              </a:rPr>
              <a:t>James Shaw</a:t>
            </a:r>
          </a:p>
          <a:p>
            <a:pPr marL="0" marR="0" lvl="0" indent="0" algn="l" defTabSz="914400" rtl="0" eaLnBrk="1" fontAlgn="auto" latinLnBrk="0" hangingPunct="1">
              <a:lnSpc>
                <a:spcPct val="107000"/>
              </a:lnSpc>
              <a:spcBef>
                <a:spcPts val="0"/>
              </a:spcBef>
              <a:spcAft>
                <a:spcPts val="0"/>
              </a:spcAft>
              <a:buClrTx/>
              <a:buSzTx/>
              <a:buFontTx/>
              <a:buNone/>
              <a:tabLst/>
              <a:defRPr/>
            </a:pPr>
            <a:r>
              <a:rPr lang="en-US" sz="1100" spc="-10" dirty="0">
                <a:solidFill>
                  <a:srgbClr val="1F497D"/>
                </a:solidFill>
                <a:latin typeface="Open Sans" panose="020B0606030504020204" pitchFamily="34" charset="0"/>
                <a:ea typeface="Calibri" panose="020F0502020204030204" pitchFamily="34" charset="0"/>
                <a:cs typeface="Times New Roman" panose="02020603050405020304" pitchFamily="18" charset="0"/>
              </a:rPr>
              <a:t>Deloitte</a:t>
            </a:r>
            <a:endParaRPr kumimoji="0" lang="en-US" sz="1100" i="0" u="none" strike="noStrike" kern="1200" cap="none" spc="-10" normalizeH="0" baseline="0" noProof="0" dirty="0">
              <a:ln>
                <a:noFill/>
              </a:ln>
              <a:solidFill>
                <a:srgbClr val="000000"/>
              </a:solidFill>
              <a:effectLst/>
              <a:uLnTx/>
              <a:uFillTx/>
              <a:latin typeface="Open Sans" panose="020B0606030504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10" normalizeH="0" baseline="0" noProof="0" dirty="0">
                <a:ln>
                  <a:noFill/>
                </a:ln>
                <a:solidFill>
                  <a:srgbClr val="000000"/>
                </a:solidFill>
                <a:effectLst/>
                <a:uLnTx/>
                <a:uFillTx/>
                <a:latin typeface="Open Sans" panose="020B0606030504020204" pitchFamily="34" charset="0"/>
                <a:ea typeface="Calibri" panose="020F0502020204030204" pitchFamily="34" charset="0"/>
                <a:cs typeface="Times New Roman" panose="02020603050405020304" pitchFamily="18" charset="0"/>
              </a:rPr>
              <a:t>Managing Director</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33436670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89FD419-791B-37E3-6096-137F81788204}"/>
              </a:ext>
            </a:extLst>
          </p:cNvPr>
          <p:cNvSpPr>
            <a:spLocks noGrp="1"/>
          </p:cNvSpPr>
          <p:nvPr>
            <p:ph type="title"/>
          </p:nvPr>
        </p:nvSpPr>
        <p:spPr/>
        <p:txBody>
          <a:bodyPr/>
          <a:lstStyle/>
          <a:p>
            <a:r>
              <a:rPr lang="en-US" sz="2100"/>
              <a:t>The State of TN and STS are Prepared to Help with Cybersecurity</a:t>
            </a:r>
          </a:p>
        </p:txBody>
      </p:sp>
      <p:sp>
        <p:nvSpPr>
          <p:cNvPr id="9" name="Rectangle 8">
            <a:extLst>
              <a:ext uri="{FF2B5EF4-FFF2-40B4-BE49-F238E27FC236}">
                <a16:creationId xmlns:a16="http://schemas.microsoft.com/office/drawing/2014/main" id="{20DE7CA2-77CD-999D-5542-2DF2F459C855}"/>
              </a:ext>
            </a:extLst>
          </p:cNvPr>
          <p:cNvSpPr/>
          <p:nvPr/>
        </p:nvSpPr>
        <p:spPr bwMode="gray">
          <a:xfrm>
            <a:off x="2438400" y="6011032"/>
            <a:ext cx="7315200" cy="349979"/>
          </a:xfrm>
          <a:prstGeom prst="rect">
            <a:avLst/>
          </a:prstGeom>
          <a:solidFill>
            <a:srgbClr val="F2F2F2"/>
          </a:solidFill>
          <a:ln w="12700" algn="ctr">
            <a:solidFill>
              <a:schemeClr val="tx1"/>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r>
              <a:rPr lang="en-US" sz="1200"/>
              <a:t>Are you interested in participating or have questions? Contact our team at </a:t>
            </a:r>
            <a:r>
              <a:rPr lang="en-US" sz="1200" b="1"/>
              <a:t>ncsr@tn.gov</a:t>
            </a:r>
            <a:endParaRPr lang="en-US" sz="1600" b="1">
              <a:solidFill>
                <a:schemeClr val="bg1"/>
              </a:solidFill>
            </a:endParaRPr>
          </a:p>
        </p:txBody>
      </p:sp>
      <p:sp>
        <p:nvSpPr>
          <p:cNvPr id="15" name="Block Arc 14">
            <a:extLst>
              <a:ext uri="{FF2B5EF4-FFF2-40B4-BE49-F238E27FC236}">
                <a16:creationId xmlns:a16="http://schemas.microsoft.com/office/drawing/2014/main" id="{1FE3EF45-8B4A-AD62-8652-3D372FEBBBAE}"/>
              </a:ext>
            </a:extLst>
          </p:cNvPr>
          <p:cNvSpPr/>
          <p:nvPr/>
        </p:nvSpPr>
        <p:spPr bwMode="gray">
          <a:xfrm>
            <a:off x="4014710" y="1176656"/>
            <a:ext cx="1558678" cy="1558679"/>
          </a:xfrm>
          <a:prstGeom prst="blockArc">
            <a:avLst>
              <a:gd name="adj1" fmla="val 10823994"/>
              <a:gd name="adj2" fmla="val 5529932"/>
              <a:gd name="adj3" fmla="val 1408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6" name="Rounded Rectangle 5">
            <a:extLst>
              <a:ext uri="{FF2B5EF4-FFF2-40B4-BE49-F238E27FC236}">
                <a16:creationId xmlns:a16="http://schemas.microsoft.com/office/drawing/2014/main" id="{09C95161-37D6-4A42-1270-A31DC43DC107}"/>
              </a:ext>
            </a:extLst>
          </p:cNvPr>
          <p:cNvSpPr/>
          <p:nvPr/>
        </p:nvSpPr>
        <p:spPr bwMode="gray">
          <a:xfrm>
            <a:off x="4827117" y="1569472"/>
            <a:ext cx="4259131" cy="773047"/>
          </a:xfrm>
          <a:prstGeom prst="roundRect">
            <a:avLst>
              <a:gd name="adj" fmla="val 50000"/>
            </a:avLst>
          </a:prstGeom>
          <a:solidFill>
            <a:schemeClr val="bg1">
              <a:lumMod val="95000"/>
            </a:schemeClr>
          </a:solidFill>
          <a:ln w="9525" algn="ctr">
            <a:solidFill>
              <a:schemeClr val="accent1"/>
            </a:solidFill>
            <a:miter lim="800000"/>
            <a:headEnd/>
            <a:tailEnd/>
          </a:ln>
        </p:spPr>
        <p:txBody>
          <a:bodyPr wrap="square" lIns="457200" tIns="88900" rIns="88900" bIns="88900" rtlCol="0" anchor="ctr"/>
          <a:lstStyle/>
          <a:p>
            <a:r>
              <a:rPr lang="en-US" sz="1200">
                <a:cs typeface="Times New Roman" pitchFamily="18" charset="0"/>
              </a:rPr>
              <a:t>Your organization has </a:t>
            </a:r>
            <a:r>
              <a:rPr kumimoji="0" lang="en-GB" sz="1200" b="1" u="none" strike="noStrike" kern="1200" cap="none" spc="0" normalizeH="0" baseline="0" noProof="0">
                <a:ln>
                  <a:noFill/>
                </a:ln>
                <a:solidFill>
                  <a:prstClr val="black"/>
                </a:solidFill>
                <a:effectLst/>
                <a:uLnTx/>
                <a:uFillTx/>
              </a:rPr>
              <a:t>sensitive citizen data</a:t>
            </a:r>
            <a:r>
              <a:rPr kumimoji="0" lang="en-GB" sz="1200" u="none" strike="noStrike" kern="1200" cap="none" spc="0" normalizeH="0" baseline="0" noProof="0">
                <a:ln>
                  <a:noFill/>
                </a:ln>
                <a:solidFill>
                  <a:prstClr val="black"/>
                </a:solidFill>
                <a:effectLst/>
                <a:uLnTx/>
                <a:uFillTx/>
              </a:rPr>
              <a:t> and </a:t>
            </a:r>
            <a:r>
              <a:rPr kumimoji="0" lang="en-GB" sz="1200" b="1" u="none" strike="noStrike" kern="1200" cap="none" spc="0" normalizeH="0" baseline="0" noProof="0">
                <a:ln>
                  <a:noFill/>
                </a:ln>
                <a:solidFill>
                  <a:prstClr val="black"/>
                </a:solidFill>
                <a:effectLst/>
                <a:uLnTx/>
                <a:uFillTx/>
              </a:rPr>
              <a:t>critical systems/services you provide to citizens.</a:t>
            </a:r>
          </a:p>
        </p:txBody>
      </p:sp>
      <p:sp>
        <p:nvSpPr>
          <p:cNvPr id="17" name="Oval 16">
            <a:extLst>
              <a:ext uri="{FF2B5EF4-FFF2-40B4-BE49-F238E27FC236}">
                <a16:creationId xmlns:a16="http://schemas.microsoft.com/office/drawing/2014/main" id="{06EE7945-0CC9-7171-CE24-A8DDC7FAAF1D}"/>
              </a:ext>
            </a:extLst>
          </p:cNvPr>
          <p:cNvSpPr/>
          <p:nvPr/>
        </p:nvSpPr>
        <p:spPr bwMode="gray">
          <a:xfrm>
            <a:off x="4232208" y="1394155"/>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20" name="Oval 19">
            <a:extLst>
              <a:ext uri="{FF2B5EF4-FFF2-40B4-BE49-F238E27FC236}">
                <a16:creationId xmlns:a16="http://schemas.microsoft.com/office/drawing/2014/main" id="{11FD47DE-EF11-7E27-A8AD-D75524663CB9}"/>
              </a:ext>
            </a:extLst>
          </p:cNvPr>
          <p:cNvSpPr/>
          <p:nvPr/>
        </p:nvSpPr>
        <p:spPr bwMode="gray">
          <a:xfrm>
            <a:off x="4394125" y="1556071"/>
            <a:ext cx="799848" cy="799848"/>
          </a:xfrm>
          <a:prstGeom prst="ellipse">
            <a:avLst/>
          </a:prstGeom>
          <a:solidFill>
            <a:schemeClr val="accent1">
              <a:lumMod val="20000"/>
              <a:lumOff val="80000"/>
            </a:schemeClr>
          </a:solidFill>
          <a:ln w="9525" algn="ctr">
            <a:solidFill>
              <a:schemeClr val="accent1"/>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2000" b="1" i="0" u="none" strike="noStrike" kern="1200" cap="none" spc="0" normalizeH="0" baseline="0" noProof="0">
              <a:ln>
                <a:noFill/>
              </a:ln>
              <a:solidFill>
                <a:prstClr val="black"/>
              </a:solidFill>
              <a:effectLst/>
              <a:uLnTx/>
              <a:uFillTx/>
              <a:latin typeface="Calibri Light"/>
              <a:ea typeface="+mn-ea"/>
              <a:cs typeface="+mn-cs"/>
            </a:endParaRPr>
          </a:p>
        </p:txBody>
      </p:sp>
      <p:sp>
        <p:nvSpPr>
          <p:cNvPr id="25" name="Block Arc 24">
            <a:extLst>
              <a:ext uri="{FF2B5EF4-FFF2-40B4-BE49-F238E27FC236}">
                <a16:creationId xmlns:a16="http://schemas.microsoft.com/office/drawing/2014/main" id="{AD9CFC4C-9759-19F1-5FBE-E114AC656A8D}"/>
              </a:ext>
            </a:extLst>
          </p:cNvPr>
          <p:cNvSpPr/>
          <p:nvPr/>
        </p:nvSpPr>
        <p:spPr bwMode="gray">
          <a:xfrm>
            <a:off x="4014710" y="2520629"/>
            <a:ext cx="1558679" cy="1558679"/>
          </a:xfrm>
          <a:prstGeom prst="blockArc">
            <a:avLst>
              <a:gd name="adj1" fmla="val 10296"/>
              <a:gd name="adj2" fmla="val 16171692"/>
              <a:gd name="adj3" fmla="val 13840"/>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6" name="Rounded Rectangle 9">
            <a:extLst>
              <a:ext uri="{FF2B5EF4-FFF2-40B4-BE49-F238E27FC236}">
                <a16:creationId xmlns:a16="http://schemas.microsoft.com/office/drawing/2014/main" id="{23FCA84B-2214-2BE2-6F2C-F937A02E71F5}"/>
              </a:ext>
            </a:extLst>
          </p:cNvPr>
          <p:cNvSpPr/>
          <p:nvPr/>
        </p:nvSpPr>
        <p:spPr bwMode="gray">
          <a:xfrm>
            <a:off x="807397" y="2913445"/>
            <a:ext cx="3893810" cy="773047"/>
          </a:xfrm>
          <a:prstGeom prst="roundRect">
            <a:avLst>
              <a:gd name="adj" fmla="val 50000"/>
            </a:avLst>
          </a:prstGeom>
          <a:solidFill>
            <a:schemeClr val="bg1">
              <a:lumMod val="95000"/>
            </a:schemeClr>
          </a:solidFill>
          <a:ln w="9525" algn="ctr">
            <a:solidFill>
              <a:srgbClr val="00A3E0"/>
            </a:solidFill>
            <a:miter lim="800000"/>
            <a:headEnd/>
            <a:tailEnd/>
          </a:ln>
        </p:spPr>
        <p:txBody>
          <a:bodyPr wrap="square" lIns="91440" tIns="88900" rIns="274320" bIns="88900" rtlCol="0" anchor="ctr"/>
          <a:lstStyle/>
          <a:p>
            <a:r>
              <a:rPr lang="en-US" sz="1200">
                <a:cs typeface="Times New Roman" pitchFamily="18" charset="0"/>
              </a:rPr>
              <a:t>The State and STS are developing a statewide Cybersecurity Plan to </a:t>
            </a:r>
            <a:r>
              <a:rPr lang="en-US" sz="1200" b="1">
                <a:cs typeface="Times New Roman" pitchFamily="18" charset="0"/>
              </a:rPr>
              <a:t>assist local entities</a:t>
            </a:r>
            <a:r>
              <a:rPr lang="en-US" sz="1200">
                <a:cs typeface="Times New Roman" pitchFamily="18" charset="0"/>
              </a:rPr>
              <a:t> with cybersecurity.</a:t>
            </a:r>
          </a:p>
        </p:txBody>
      </p:sp>
      <p:sp>
        <p:nvSpPr>
          <p:cNvPr id="31" name="Oval 30">
            <a:extLst>
              <a:ext uri="{FF2B5EF4-FFF2-40B4-BE49-F238E27FC236}">
                <a16:creationId xmlns:a16="http://schemas.microsoft.com/office/drawing/2014/main" id="{9D9D57A9-BFD5-4AA4-8270-09CCA77D56AC}"/>
              </a:ext>
            </a:extLst>
          </p:cNvPr>
          <p:cNvSpPr/>
          <p:nvPr/>
        </p:nvSpPr>
        <p:spPr bwMode="gray">
          <a:xfrm>
            <a:off x="4232209" y="2738128"/>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54" name="Oval 53">
            <a:extLst>
              <a:ext uri="{FF2B5EF4-FFF2-40B4-BE49-F238E27FC236}">
                <a16:creationId xmlns:a16="http://schemas.microsoft.com/office/drawing/2014/main" id="{737A3F82-4D79-7C72-7A47-B778C1F5DF84}"/>
              </a:ext>
            </a:extLst>
          </p:cNvPr>
          <p:cNvSpPr/>
          <p:nvPr/>
        </p:nvSpPr>
        <p:spPr bwMode="gray">
          <a:xfrm>
            <a:off x="4394125" y="2900044"/>
            <a:ext cx="799848" cy="799848"/>
          </a:xfrm>
          <a:prstGeom prst="ellipse">
            <a:avLst/>
          </a:prstGeom>
          <a:solidFill>
            <a:schemeClr val="accent6">
              <a:lumMod val="20000"/>
              <a:lumOff val="80000"/>
            </a:schemeClr>
          </a:solidFill>
          <a:ln w="9525" algn="ctr">
            <a:solidFill>
              <a:srgbClr val="00A3E0"/>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2000" b="1" i="0" u="none" strike="noStrike" kern="1200" cap="none" spc="0" normalizeH="0" baseline="0" noProof="0">
              <a:ln>
                <a:noFill/>
              </a:ln>
              <a:solidFill>
                <a:prstClr val="black"/>
              </a:solidFill>
              <a:effectLst/>
              <a:uLnTx/>
              <a:uFillTx/>
              <a:latin typeface="Calibri Light"/>
              <a:ea typeface="+mn-ea"/>
              <a:cs typeface="+mn-cs"/>
            </a:endParaRPr>
          </a:p>
        </p:txBody>
      </p:sp>
      <p:sp>
        <p:nvSpPr>
          <p:cNvPr id="69" name="Block Arc 68">
            <a:extLst>
              <a:ext uri="{FF2B5EF4-FFF2-40B4-BE49-F238E27FC236}">
                <a16:creationId xmlns:a16="http://schemas.microsoft.com/office/drawing/2014/main" id="{25514D7B-EA34-731C-9A6C-D77D07F2D011}"/>
              </a:ext>
            </a:extLst>
          </p:cNvPr>
          <p:cNvSpPr/>
          <p:nvPr/>
        </p:nvSpPr>
        <p:spPr bwMode="gray">
          <a:xfrm>
            <a:off x="5355456" y="2528887"/>
            <a:ext cx="1558678" cy="1558679"/>
          </a:xfrm>
          <a:prstGeom prst="blockArc">
            <a:avLst>
              <a:gd name="adj1" fmla="val 10823994"/>
              <a:gd name="adj2" fmla="val 5529932"/>
              <a:gd name="adj3" fmla="val 14080"/>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71" name="Rounded Rectangle 13">
            <a:extLst>
              <a:ext uri="{FF2B5EF4-FFF2-40B4-BE49-F238E27FC236}">
                <a16:creationId xmlns:a16="http://schemas.microsoft.com/office/drawing/2014/main" id="{3CBEE2E6-8F91-34A1-C2D1-07A85CC7D9AA}"/>
              </a:ext>
            </a:extLst>
          </p:cNvPr>
          <p:cNvSpPr/>
          <p:nvPr/>
        </p:nvSpPr>
        <p:spPr bwMode="gray">
          <a:xfrm>
            <a:off x="6167862" y="2921703"/>
            <a:ext cx="5216741" cy="773047"/>
          </a:xfrm>
          <a:prstGeom prst="roundRect">
            <a:avLst>
              <a:gd name="adj" fmla="val 50000"/>
            </a:avLst>
          </a:prstGeom>
          <a:solidFill>
            <a:schemeClr val="bg1">
              <a:lumMod val="95000"/>
            </a:schemeClr>
          </a:solidFill>
          <a:ln w="9525" algn="ctr">
            <a:solidFill>
              <a:srgbClr val="009A44"/>
            </a:solidFill>
            <a:miter lim="800000"/>
            <a:headEnd/>
            <a:tailEnd/>
          </a:ln>
        </p:spPr>
        <p:txBody>
          <a:bodyPr wrap="square" lIns="457200" tIns="88900" rIns="88900" bIns="88900" rtlCol="0" anchor="ctr"/>
          <a:lstStyle/>
          <a:p>
            <a:pPr marL="0" marR="0" lvl="2" indent="0" algn="l" defTabSz="914400" rtl="0" eaLnBrk="1" fontAlgn="auto" latinLnBrk="0" hangingPunct="1">
              <a:lnSpc>
                <a:spcPct val="100000"/>
              </a:lnSpc>
              <a:spcBef>
                <a:spcPts val="0"/>
              </a:spcBef>
              <a:spcAft>
                <a:spcPts val="1000"/>
              </a:spcAft>
              <a:buClrTx/>
              <a:buSzPct val="100000"/>
              <a:buFont typeface="Arial" panose="020B0604020202020204" pitchFamily="34" charset="0"/>
              <a:buNone/>
              <a:tabLst/>
              <a:defRPr/>
            </a:pPr>
            <a:r>
              <a:rPr kumimoji="0" lang="en-GB" sz="1200" b="0" u="none" strike="noStrike" kern="1200" cap="none" spc="0" normalizeH="0" baseline="0" noProof="0">
                <a:ln>
                  <a:noFill/>
                </a:ln>
                <a:solidFill>
                  <a:prstClr val="black"/>
                </a:solidFill>
                <a:effectLst/>
                <a:uLnTx/>
                <a:uFillTx/>
              </a:rPr>
              <a:t>There is a Federal </a:t>
            </a:r>
            <a:r>
              <a:rPr kumimoji="0" lang="en-GB" sz="1200" b="1" u="none" strike="noStrike" kern="1200" cap="none" spc="0" normalizeH="0" baseline="0" noProof="0">
                <a:ln>
                  <a:noFill/>
                </a:ln>
                <a:solidFill>
                  <a:prstClr val="black"/>
                </a:solidFill>
                <a:effectLst/>
                <a:uLnTx/>
                <a:uFillTx/>
              </a:rPr>
              <a:t>funding opportunity </a:t>
            </a:r>
            <a:r>
              <a:rPr kumimoji="0" lang="en-GB" sz="1200" b="0" u="none" strike="noStrike" kern="1200" cap="none" spc="0" normalizeH="0" baseline="0" noProof="0">
                <a:ln>
                  <a:noFill/>
                </a:ln>
                <a:solidFill>
                  <a:prstClr val="black"/>
                </a:solidFill>
                <a:effectLst/>
                <a:uLnTx/>
                <a:uFillTx/>
              </a:rPr>
              <a:t>through </a:t>
            </a:r>
            <a:r>
              <a:rPr kumimoji="0" lang="en-GB" sz="1200" b="1" u="none" strike="noStrike" kern="1200" cap="none" spc="0" normalizeH="0" baseline="0" noProof="0">
                <a:ln>
                  <a:noFill/>
                </a:ln>
                <a:solidFill>
                  <a:prstClr val="black"/>
                </a:solidFill>
                <a:effectLst/>
                <a:uLnTx/>
                <a:uFillTx/>
              </a:rPr>
              <a:t>Homeland Security </a:t>
            </a:r>
            <a:r>
              <a:rPr kumimoji="0" lang="en-GB" sz="1200" u="none" strike="noStrike" kern="1200" cap="none" spc="0" normalizeH="0" baseline="0" noProof="0">
                <a:ln>
                  <a:noFill/>
                </a:ln>
                <a:solidFill>
                  <a:prstClr val="black"/>
                </a:solidFill>
                <a:effectLst/>
                <a:uLnTx/>
                <a:uFillTx/>
              </a:rPr>
              <a:t>and </a:t>
            </a:r>
            <a:r>
              <a:rPr kumimoji="0" lang="en-GB" sz="1200" b="1" u="none" strike="noStrike" kern="1200" cap="none" spc="0" normalizeH="0" baseline="0" noProof="0">
                <a:ln>
                  <a:noFill/>
                </a:ln>
                <a:solidFill>
                  <a:prstClr val="black"/>
                </a:solidFill>
                <a:effectLst/>
                <a:uLnTx/>
                <a:uFillTx/>
              </a:rPr>
              <a:t>CISA</a:t>
            </a:r>
            <a:r>
              <a:rPr kumimoji="0" lang="en-GB" sz="1200" b="0" u="none" strike="noStrike" kern="1200" cap="none" spc="0" normalizeH="0" baseline="0" noProof="0">
                <a:ln>
                  <a:noFill/>
                </a:ln>
                <a:solidFill>
                  <a:prstClr val="black"/>
                </a:solidFill>
                <a:effectLst/>
                <a:uLnTx/>
                <a:uFillTx/>
              </a:rPr>
              <a:t> that provides for grant money specifically directed at </a:t>
            </a:r>
            <a:r>
              <a:rPr kumimoji="0" lang="en-GB" sz="1200" b="1" u="none" strike="noStrike" kern="1200" cap="none" spc="0" normalizeH="0" baseline="0" noProof="0">
                <a:ln>
                  <a:noFill/>
                </a:ln>
                <a:solidFill>
                  <a:prstClr val="black"/>
                </a:solidFill>
                <a:effectLst/>
                <a:uLnTx/>
                <a:uFillTx/>
              </a:rPr>
              <a:t>local</a:t>
            </a:r>
            <a:r>
              <a:rPr kumimoji="0" lang="en-GB" sz="1200" b="0" u="none" strike="noStrike" kern="1200" cap="none" spc="0" normalizeH="0" baseline="0" noProof="0">
                <a:ln>
                  <a:noFill/>
                </a:ln>
                <a:solidFill>
                  <a:prstClr val="black"/>
                </a:solidFill>
                <a:effectLst/>
                <a:uLnTx/>
                <a:uFillTx/>
              </a:rPr>
              <a:t> </a:t>
            </a:r>
            <a:r>
              <a:rPr kumimoji="0" lang="en-GB" sz="1200" b="1" u="none" strike="noStrike" kern="1200" cap="none" spc="0" normalizeH="0" baseline="0" noProof="0">
                <a:ln>
                  <a:noFill/>
                </a:ln>
                <a:solidFill>
                  <a:prstClr val="black"/>
                </a:solidFill>
                <a:effectLst/>
                <a:uLnTx/>
                <a:uFillTx/>
              </a:rPr>
              <a:t>cybersecurity.</a:t>
            </a:r>
          </a:p>
        </p:txBody>
      </p:sp>
      <p:sp>
        <p:nvSpPr>
          <p:cNvPr id="72" name="Oval 71">
            <a:extLst>
              <a:ext uri="{FF2B5EF4-FFF2-40B4-BE49-F238E27FC236}">
                <a16:creationId xmlns:a16="http://schemas.microsoft.com/office/drawing/2014/main" id="{0B7C26DC-0C28-CC36-BB5F-D3DB4D1529D9}"/>
              </a:ext>
            </a:extLst>
          </p:cNvPr>
          <p:cNvSpPr/>
          <p:nvPr/>
        </p:nvSpPr>
        <p:spPr bwMode="gray">
          <a:xfrm>
            <a:off x="5572954" y="2746386"/>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73" name="Oval 72">
            <a:extLst>
              <a:ext uri="{FF2B5EF4-FFF2-40B4-BE49-F238E27FC236}">
                <a16:creationId xmlns:a16="http://schemas.microsoft.com/office/drawing/2014/main" id="{BD1A4D4F-09DD-DB0C-5208-4B38F88F4373}"/>
              </a:ext>
            </a:extLst>
          </p:cNvPr>
          <p:cNvSpPr/>
          <p:nvPr/>
        </p:nvSpPr>
        <p:spPr bwMode="gray">
          <a:xfrm>
            <a:off x="5734871" y="2908302"/>
            <a:ext cx="799848" cy="799848"/>
          </a:xfrm>
          <a:prstGeom prst="ellipse">
            <a:avLst/>
          </a:prstGeom>
          <a:solidFill>
            <a:srgbClr val="DDEFE8"/>
          </a:solidFill>
          <a:ln w="9525" algn="ctr">
            <a:solidFill>
              <a:srgbClr val="009A44"/>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2000" b="1" i="0" u="none" strike="noStrike" kern="1200" cap="none" spc="0" normalizeH="0" baseline="0" noProof="0">
              <a:ln>
                <a:noFill/>
              </a:ln>
              <a:solidFill>
                <a:prstClr val="black"/>
              </a:solidFill>
              <a:effectLst/>
              <a:uLnTx/>
              <a:uFillTx/>
              <a:latin typeface="Calibri Light"/>
              <a:ea typeface="+mn-ea"/>
              <a:cs typeface="+mn-cs"/>
            </a:endParaRPr>
          </a:p>
        </p:txBody>
      </p:sp>
      <p:sp>
        <p:nvSpPr>
          <p:cNvPr id="74" name="Block Arc 73">
            <a:extLst>
              <a:ext uri="{FF2B5EF4-FFF2-40B4-BE49-F238E27FC236}">
                <a16:creationId xmlns:a16="http://schemas.microsoft.com/office/drawing/2014/main" id="{E096A873-4E0B-FF8E-057D-2B53C6B15C66}"/>
              </a:ext>
            </a:extLst>
          </p:cNvPr>
          <p:cNvSpPr/>
          <p:nvPr/>
        </p:nvSpPr>
        <p:spPr bwMode="gray">
          <a:xfrm>
            <a:off x="5354898" y="3870064"/>
            <a:ext cx="1558679" cy="1558679"/>
          </a:xfrm>
          <a:prstGeom prst="blockArc">
            <a:avLst>
              <a:gd name="adj1" fmla="val 10296"/>
              <a:gd name="adj2" fmla="val 16171692"/>
              <a:gd name="adj3" fmla="val 13840"/>
            </a:avLst>
          </a:prstGeom>
          <a:solidFill>
            <a:srgbClr val="01216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75" name="Rounded Rectangle 17">
            <a:extLst>
              <a:ext uri="{FF2B5EF4-FFF2-40B4-BE49-F238E27FC236}">
                <a16:creationId xmlns:a16="http://schemas.microsoft.com/office/drawing/2014/main" id="{EBE9AA29-AE6C-5F45-8FF4-EE82EDC972AF}"/>
              </a:ext>
            </a:extLst>
          </p:cNvPr>
          <p:cNvSpPr/>
          <p:nvPr/>
        </p:nvSpPr>
        <p:spPr bwMode="gray">
          <a:xfrm>
            <a:off x="1354667" y="4262880"/>
            <a:ext cx="4686727" cy="773047"/>
          </a:xfrm>
          <a:prstGeom prst="roundRect">
            <a:avLst>
              <a:gd name="adj" fmla="val 50000"/>
            </a:avLst>
          </a:prstGeom>
          <a:solidFill>
            <a:schemeClr val="bg1">
              <a:lumMod val="95000"/>
            </a:schemeClr>
          </a:solidFill>
          <a:ln w="9525" algn="ctr">
            <a:solidFill>
              <a:srgbClr val="012169"/>
            </a:solidFill>
            <a:miter lim="800000"/>
            <a:headEnd/>
            <a:tailEnd/>
          </a:ln>
        </p:spPr>
        <p:txBody>
          <a:bodyPr wrap="square" lIns="91440" tIns="88900" rIns="365760" bIns="88900" rtlCol="0" anchor="ctr"/>
          <a:lstStyle/>
          <a:p>
            <a:pPr lvl="0">
              <a:lnSpc>
                <a:spcPct val="106000"/>
              </a:lnSpc>
            </a:pPr>
            <a:r>
              <a:rPr lang="en-US" sz="1200"/>
              <a:t>Local entities that complete the NCSR survey will be </a:t>
            </a:r>
            <a:r>
              <a:rPr lang="en-US" sz="1200" b="1"/>
              <a:t>eligible to take advantage of cyber services</a:t>
            </a:r>
            <a:r>
              <a:rPr lang="en-US" sz="1200"/>
              <a:t> funded by Federal grant money.</a:t>
            </a:r>
            <a:endParaRPr kumimoji="0" lang="en-US" sz="1200" i="0" u="none" strike="noStrike" kern="1200" cap="none" spc="0" normalizeH="0" baseline="0" noProof="0">
              <a:ln>
                <a:noFill/>
              </a:ln>
              <a:solidFill>
                <a:prstClr val="black"/>
              </a:solidFill>
              <a:effectLst/>
              <a:uLnTx/>
              <a:uFillTx/>
              <a:latin typeface="Calibri Light"/>
              <a:ea typeface="+mn-ea"/>
              <a:cs typeface="+mn-cs"/>
            </a:endParaRPr>
          </a:p>
        </p:txBody>
      </p:sp>
      <p:sp>
        <p:nvSpPr>
          <p:cNvPr id="76" name="Oval 75">
            <a:extLst>
              <a:ext uri="{FF2B5EF4-FFF2-40B4-BE49-F238E27FC236}">
                <a16:creationId xmlns:a16="http://schemas.microsoft.com/office/drawing/2014/main" id="{278DD6C6-D588-8F82-806B-0A3BEEAC4303}"/>
              </a:ext>
            </a:extLst>
          </p:cNvPr>
          <p:cNvSpPr/>
          <p:nvPr/>
        </p:nvSpPr>
        <p:spPr bwMode="gray">
          <a:xfrm>
            <a:off x="5572397" y="4087563"/>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77" name="Oval 76">
            <a:extLst>
              <a:ext uri="{FF2B5EF4-FFF2-40B4-BE49-F238E27FC236}">
                <a16:creationId xmlns:a16="http://schemas.microsoft.com/office/drawing/2014/main" id="{5638B8D3-58E1-0756-6ED7-97D431308D6B}"/>
              </a:ext>
            </a:extLst>
          </p:cNvPr>
          <p:cNvSpPr/>
          <p:nvPr/>
        </p:nvSpPr>
        <p:spPr bwMode="gray">
          <a:xfrm>
            <a:off x="5734313" y="4249479"/>
            <a:ext cx="799848" cy="799848"/>
          </a:xfrm>
          <a:prstGeom prst="ellipse">
            <a:avLst/>
          </a:prstGeom>
          <a:solidFill>
            <a:srgbClr val="A0DCFF"/>
          </a:solidFill>
          <a:ln w="9525" algn="ctr">
            <a:solidFill>
              <a:srgbClr val="012169"/>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2000" b="1" i="0" u="none" strike="noStrike" kern="1200" cap="none" spc="0" normalizeH="0" baseline="0" noProof="0">
              <a:ln>
                <a:noFill/>
              </a:ln>
              <a:solidFill>
                <a:prstClr val="black"/>
              </a:solidFill>
              <a:effectLst/>
              <a:uLnTx/>
              <a:uFillTx/>
              <a:latin typeface="Calibri Light"/>
              <a:ea typeface="+mn-ea"/>
              <a:cs typeface="+mn-cs"/>
            </a:endParaRPr>
          </a:p>
        </p:txBody>
      </p:sp>
      <p:sp>
        <p:nvSpPr>
          <p:cNvPr id="78" name="Block Arc 77">
            <a:extLst>
              <a:ext uri="{FF2B5EF4-FFF2-40B4-BE49-F238E27FC236}">
                <a16:creationId xmlns:a16="http://schemas.microsoft.com/office/drawing/2014/main" id="{685855F9-5902-1A71-6106-23814DC6D61F}"/>
              </a:ext>
            </a:extLst>
          </p:cNvPr>
          <p:cNvSpPr/>
          <p:nvPr/>
        </p:nvSpPr>
        <p:spPr bwMode="gray">
          <a:xfrm>
            <a:off x="6694873" y="3889938"/>
            <a:ext cx="1558678" cy="1558679"/>
          </a:xfrm>
          <a:prstGeom prst="blockArc">
            <a:avLst>
              <a:gd name="adj1" fmla="val 10823994"/>
              <a:gd name="adj2" fmla="val 5529932"/>
              <a:gd name="adj3" fmla="val 14080"/>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79" name="Rounded Rectangle 21">
            <a:extLst>
              <a:ext uri="{FF2B5EF4-FFF2-40B4-BE49-F238E27FC236}">
                <a16:creationId xmlns:a16="http://schemas.microsoft.com/office/drawing/2014/main" id="{95153A6E-4526-A7E7-99F1-A0B5314B7389}"/>
              </a:ext>
            </a:extLst>
          </p:cNvPr>
          <p:cNvSpPr/>
          <p:nvPr/>
        </p:nvSpPr>
        <p:spPr bwMode="gray">
          <a:xfrm>
            <a:off x="7507280" y="4282754"/>
            <a:ext cx="4214819" cy="773047"/>
          </a:xfrm>
          <a:prstGeom prst="roundRect">
            <a:avLst>
              <a:gd name="adj" fmla="val 50000"/>
            </a:avLst>
          </a:prstGeom>
          <a:solidFill>
            <a:schemeClr val="bg1">
              <a:lumMod val="95000"/>
            </a:schemeClr>
          </a:solidFill>
          <a:ln w="9525" algn="ctr">
            <a:solidFill>
              <a:schemeClr val="accent5"/>
            </a:solidFill>
            <a:miter lim="800000"/>
            <a:headEnd/>
            <a:tailEnd/>
          </a:ln>
        </p:spPr>
        <p:txBody>
          <a:bodyPr wrap="square" lIns="457200" tIns="88900" rIns="88900" bIns="88900" rtlCol="0" anchor="ctr"/>
          <a:lstStyle/>
          <a:p>
            <a:pPr lvl="0">
              <a:lnSpc>
                <a:spcPct val="106000"/>
              </a:lnSpc>
            </a:pPr>
            <a:r>
              <a:rPr lang="en-US" sz="1200" b="1"/>
              <a:t>STS and Deloitte will assist you </a:t>
            </a:r>
            <a:r>
              <a:rPr lang="en-US" sz="1200"/>
              <a:t>in completing the NCSR Survey.</a:t>
            </a:r>
            <a:endParaRPr lang="en-US" sz="1200" b="1"/>
          </a:p>
        </p:txBody>
      </p:sp>
      <p:sp>
        <p:nvSpPr>
          <p:cNvPr id="80" name="Oval 79">
            <a:extLst>
              <a:ext uri="{FF2B5EF4-FFF2-40B4-BE49-F238E27FC236}">
                <a16:creationId xmlns:a16="http://schemas.microsoft.com/office/drawing/2014/main" id="{0B54E9A7-2016-91B3-48C5-82270B2823BC}"/>
              </a:ext>
            </a:extLst>
          </p:cNvPr>
          <p:cNvSpPr/>
          <p:nvPr/>
        </p:nvSpPr>
        <p:spPr bwMode="gray">
          <a:xfrm>
            <a:off x="6912371" y="4107437"/>
            <a:ext cx="1123683" cy="1123681"/>
          </a:xfrm>
          <a:prstGeom prst="ellipse">
            <a:avLst/>
          </a:prstGeom>
          <a:solidFill>
            <a:schemeClr val="bg1"/>
          </a:solidFill>
          <a:ln w="9525" algn="ctr">
            <a:no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200" b="0" i="0" u="none" strike="noStrike" kern="1200" cap="none" spc="0" normalizeH="0" baseline="0" noProof="0">
              <a:ln>
                <a:noFill/>
              </a:ln>
              <a:solidFill>
                <a:prstClr val="black"/>
              </a:solidFill>
              <a:effectLst/>
              <a:uLnTx/>
              <a:uFillTx/>
              <a:latin typeface="Calibri Light"/>
              <a:ea typeface="+mn-ea"/>
              <a:cs typeface="+mn-cs"/>
            </a:endParaRPr>
          </a:p>
        </p:txBody>
      </p:sp>
      <p:sp>
        <p:nvSpPr>
          <p:cNvPr id="81" name="Oval 80">
            <a:extLst>
              <a:ext uri="{FF2B5EF4-FFF2-40B4-BE49-F238E27FC236}">
                <a16:creationId xmlns:a16="http://schemas.microsoft.com/office/drawing/2014/main" id="{2FD729F3-F8A3-73AE-7F75-F34D445DBE1C}"/>
              </a:ext>
            </a:extLst>
          </p:cNvPr>
          <p:cNvSpPr/>
          <p:nvPr/>
        </p:nvSpPr>
        <p:spPr bwMode="gray">
          <a:xfrm>
            <a:off x="7074288" y="4269353"/>
            <a:ext cx="799848" cy="799848"/>
          </a:xfrm>
          <a:prstGeom prst="ellipse">
            <a:avLst/>
          </a:prstGeom>
          <a:solidFill>
            <a:srgbClr val="DDEFE8"/>
          </a:solidFill>
          <a:ln w="9525" algn="ctr">
            <a:solidFill>
              <a:schemeClr val="accent5"/>
            </a:solidFill>
            <a:miter lim="800000"/>
            <a:headEnd/>
            <a:tailEnd/>
          </a:ln>
        </p:spPr>
        <p:txBody>
          <a:bodyPr wrap="non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2000" b="1" i="0" u="none" strike="noStrike" kern="1200" cap="none" spc="0" normalizeH="0" baseline="0" noProof="0">
              <a:ln>
                <a:noFill/>
              </a:ln>
              <a:solidFill>
                <a:prstClr val="black"/>
              </a:solidFill>
              <a:effectLst/>
              <a:uLnTx/>
              <a:uFillTx/>
              <a:latin typeface="Calibri Light"/>
              <a:ea typeface="+mn-ea"/>
              <a:cs typeface="+mn-cs"/>
            </a:endParaRPr>
          </a:p>
        </p:txBody>
      </p:sp>
      <p:sp>
        <p:nvSpPr>
          <p:cNvPr id="82" name="Rounded Rectangle 24">
            <a:extLst>
              <a:ext uri="{FF2B5EF4-FFF2-40B4-BE49-F238E27FC236}">
                <a16:creationId xmlns:a16="http://schemas.microsoft.com/office/drawing/2014/main" id="{F22E835B-798A-A93A-56AE-FF7427130299}"/>
              </a:ext>
            </a:extLst>
          </p:cNvPr>
          <p:cNvSpPr/>
          <p:nvPr/>
        </p:nvSpPr>
        <p:spPr bwMode="gray">
          <a:xfrm>
            <a:off x="1524000" y="2067633"/>
            <a:ext cx="2377691" cy="216487"/>
          </a:xfrm>
          <a:prstGeom prst="roundRect">
            <a:avLst>
              <a:gd name="adj" fmla="val 0"/>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83" name="Block Arc 82">
            <a:extLst>
              <a:ext uri="{FF2B5EF4-FFF2-40B4-BE49-F238E27FC236}">
                <a16:creationId xmlns:a16="http://schemas.microsoft.com/office/drawing/2014/main" id="{09037408-0061-9636-A9C1-093882239B25}"/>
              </a:ext>
            </a:extLst>
          </p:cNvPr>
          <p:cNvSpPr/>
          <p:nvPr/>
        </p:nvSpPr>
        <p:spPr bwMode="gray">
          <a:xfrm>
            <a:off x="3571175" y="1625479"/>
            <a:ext cx="661032" cy="661032"/>
          </a:xfrm>
          <a:prstGeom prst="blockArc">
            <a:avLst>
              <a:gd name="adj1" fmla="val 21381499"/>
              <a:gd name="adj2" fmla="val 5466996"/>
              <a:gd name="adj3" fmla="val 33084"/>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84" name="Rounded Rectangle 26">
            <a:extLst>
              <a:ext uri="{FF2B5EF4-FFF2-40B4-BE49-F238E27FC236}">
                <a16:creationId xmlns:a16="http://schemas.microsoft.com/office/drawing/2014/main" id="{A29D015F-0229-9AC7-C18B-2235C5EA901E}"/>
              </a:ext>
            </a:extLst>
          </p:cNvPr>
          <p:cNvSpPr/>
          <p:nvPr/>
        </p:nvSpPr>
        <p:spPr bwMode="gray">
          <a:xfrm>
            <a:off x="7425264" y="5681606"/>
            <a:ext cx="3236912" cy="216487"/>
          </a:xfrm>
          <a:prstGeom prst="roundRect">
            <a:avLst>
              <a:gd name="adj" fmla="val 0"/>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85" name="Block Arc 84">
            <a:extLst>
              <a:ext uri="{FF2B5EF4-FFF2-40B4-BE49-F238E27FC236}">
                <a16:creationId xmlns:a16="http://schemas.microsoft.com/office/drawing/2014/main" id="{3A11EDE1-733D-699A-DD29-46E40A6670D9}"/>
              </a:ext>
            </a:extLst>
          </p:cNvPr>
          <p:cNvSpPr/>
          <p:nvPr/>
        </p:nvSpPr>
        <p:spPr bwMode="gray">
          <a:xfrm>
            <a:off x="7090697" y="5231237"/>
            <a:ext cx="661032" cy="661032"/>
          </a:xfrm>
          <a:prstGeom prst="blockArc">
            <a:avLst>
              <a:gd name="adj1" fmla="val 5256614"/>
              <a:gd name="adj2" fmla="val 17132510"/>
              <a:gd name="adj3" fmla="val 32408"/>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86" name="Freeform 28">
            <a:extLst>
              <a:ext uri="{FF2B5EF4-FFF2-40B4-BE49-F238E27FC236}">
                <a16:creationId xmlns:a16="http://schemas.microsoft.com/office/drawing/2014/main" id="{2F15FDB0-A2D4-9304-3A33-29A842C8D78F}"/>
              </a:ext>
            </a:extLst>
          </p:cNvPr>
          <p:cNvSpPr>
            <a:spLocks noEditPoints="1"/>
          </p:cNvSpPr>
          <p:nvPr/>
        </p:nvSpPr>
        <p:spPr bwMode="auto">
          <a:xfrm>
            <a:off x="7321900" y="4530478"/>
            <a:ext cx="316919" cy="269381"/>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solidFill>
            <a:srgbClr val="0097A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95" name="Freeform 433">
            <a:extLst>
              <a:ext uri="{FF2B5EF4-FFF2-40B4-BE49-F238E27FC236}">
                <a16:creationId xmlns:a16="http://schemas.microsoft.com/office/drawing/2014/main" id="{AF42D138-5CF5-CA37-7D58-A4E8ECF6557F}"/>
              </a:ext>
            </a:extLst>
          </p:cNvPr>
          <p:cNvSpPr>
            <a:spLocks noEditPoints="1"/>
          </p:cNvSpPr>
          <p:nvPr/>
        </p:nvSpPr>
        <p:spPr bwMode="auto">
          <a:xfrm>
            <a:off x="4597059" y="3094224"/>
            <a:ext cx="408351" cy="410278"/>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solidFill>
            <a:srgbClr val="00A3E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96" name="Arc 95">
            <a:extLst>
              <a:ext uri="{FF2B5EF4-FFF2-40B4-BE49-F238E27FC236}">
                <a16:creationId xmlns:a16="http://schemas.microsoft.com/office/drawing/2014/main" id="{37C9384A-8CF1-7B32-E4D7-14245DD831F7}"/>
              </a:ext>
            </a:extLst>
          </p:cNvPr>
          <p:cNvSpPr/>
          <p:nvPr/>
        </p:nvSpPr>
        <p:spPr bwMode="gray">
          <a:xfrm>
            <a:off x="3924288" y="2470824"/>
            <a:ext cx="1714547" cy="1714547"/>
          </a:xfrm>
          <a:prstGeom prst="arc">
            <a:avLst>
              <a:gd name="adj1" fmla="val 476881"/>
              <a:gd name="adj2" fmla="val 8893727"/>
            </a:avLst>
          </a:prstGeom>
          <a:noFill/>
          <a:ln w="12700" algn="ctr">
            <a:solidFill>
              <a:srgbClr val="00A3E0"/>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97" name="Arc 96">
            <a:extLst>
              <a:ext uri="{FF2B5EF4-FFF2-40B4-BE49-F238E27FC236}">
                <a16:creationId xmlns:a16="http://schemas.microsoft.com/office/drawing/2014/main" id="{241E008C-E8F0-0D46-AC5B-53DF8D13AF7D}"/>
              </a:ext>
            </a:extLst>
          </p:cNvPr>
          <p:cNvSpPr/>
          <p:nvPr/>
        </p:nvSpPr>
        <p:spPr bwMode="gray">
          <a:xfrm>
            <a:off x="6614730" y="3798433"/>
            <a:ext cx="1714547" cy="1714547"/>
          </a:xfrm>
          <a:prstGeom prst="arc">
            <a:avLst>
              <a:gd name="adj1" fmla="val 10851493"/>
              <a:gd name="adj2" fmla="val 19983526"/>
            </a:avLst>
          </a:prstGeom>
          <a:noFill/>
          <a:ln w="12700" algn="ctr">
            <a:solidFill>
              <a:schemeClr val="accent5"/>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98" name="Arc 97">
            <a:extLst>
              <a:ext uri="{FF2B5EF4-FFF2-40B4-BE49-F238E27FC236}">
                <a16:creationId xmlns:a16="http://schemas.microsoft.com/office/drawing/2014/main" id="{A3EF4C92-F1FD-DAAD-43AE-BCED089A69DA}"/>
              </a:ext>
            </a:extLst>
          </p:cNvPr>
          <p:cNvSpPr/>
          <p:nvPr/>
        </p:nvSpPr>
        <p:spPr bwMode="gray">
          <a:xfrm>
            <a:off x="3941292" y="1092835"/>
            <a:ext cx="1714547" cy="1714547"/>
          </a:xfrm>
          <a:prstGeom prst="arc">
            <a:avLst>
              <a:gd name="adj1" fmla="val 10944444"/>
              <a:gd name="adj2" fmla="val 19861694"/>
            </a:avLst>
          </a:prstGeom>
          <a:noFill/>
          <a:ln w="12700" algn="ctr">
            <a:solidFill>
              <a:schemeClr val="tx1">
                <a:lumMod val="65000"/>
                <a:lumOff val="35000"/>
              </a:schemeClr>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99" name="Arc 98">
            <a:extLst>
              <a:ext uri="{FF2B5EF4-FFF2-40B4-BE49-F238E27FC236}">
                <a16:creationId xmlns:a16="http://schemas.microsoft.com/office/drawing/2014/main" id="{1900A533-532D-3449-E98A-07D380B7A10B}"/>
              </a:ext>
            </a:extLst>
          </p:cNvPr>
          <p:cNvSpPr/>
          <p:nvPr/>
        </p:nvSpPr>
        <p:spPr bwMode="gray">
          <a:xfrm>
            <a:off x="5276030" y="3814648"/>
            <a:ext cx="1714547" cy="1714547"/>
          </a:xfrm>
          <a:prstGeom prst="arc">
            <a:avLst>
              <a:gd name="adj1" fmla="val 2767028"/>
              <a:gd name="adj2" fmla="val 8942080"/>
            </a:avLst>
          </a:prstGeom>
          <a:noFill/>
          <a:ln w="12700" algn="ctr">
            <a:solidFill>
              <a:schemeClr val="tx1">
                <a:lumMod val="65000"/>
                <a:lumOff val="35000"/>
              </a:schemeClr>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Light"/>
              <a:ea typeface="+mn-ea"/>
              <a:cs typeface="+mn-cs"/>
            </a:endParaRPr>
          </a:p>
        </p:txBody>
      </p:sp>
      <p:cxnSp>
        <p:nvCxnSpPr>
          <p:cNvPr id="100" name="Straight Connector 99">
            <a:extLst>
              <a:ext uri="{FF2B5EF4-FFF2-40B4-BE49-F238E27FC236}">
                <a16:creationId xmlns:a16="http://schemas.microsoft.com/office/drawing/2014/main" id="{E21F33D4-5AA6-A53F-4D78-EA404F7429B9}"/>
              </a:ext>
            </a:extLst>
          </p:cNvPr>
          <p:cNvCxnSpPr/>
          <p:nvPr/>
        </p:nvCxnSpPr>
        <p:spPr>
          <a:xfrm>
            <a:off x="8036054" y="5561753"/>
            <a:ext cx="2631946" cy="0"/>
          </a:xfrm>
          <a:prstGeom prst="line">
            <a:avLst/>
          </a:prstGeom>
          <a:ln w="1270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1C896AA2-6A67-C318-8850-B51B028175DD}"/>
              </a:ext>
            </a:extLst>
          </p:cNvPr>
          <p:cNvCxnSpPr/>
          <p:nvPr/>
        </p:nvCxnSpPr>
        <p:spPr>
          <a:xfrm>
            <a:off x="2752294" y="2369015"/>
            <a:ext cx="1149397" cy="0"/>
          </a:xfrm>
          <a:prstGeom prst="line">
            <a:avLst/>
          </a:prstGeom>
          <a:noFill/>
          <a:ln w="12700" algn="ctr">
            <a:solidFill>
              <a:schemeClr val="tx1">
                <a:lumMod val="65000"/>
                <a:lumOff val="35000"/>
              </a:schemeClr>
            </a:solidFill>
            <a:prstDash val="dash"/>
            <a:miter lim="800000"/>
            <a:headEnd/>
            <a:tailEnd/>
          </a:ln>
        </p:spPr>
      </p:cxnSp>
      <p:pic>
        <p:nvPicPr>
          <p:cNvPr id="103" name="Graphic 102" descr="Clipboard Mixed outline">
            <a:extLst>
              <a:ext uri="{FF2B5EF4-FFF2-40B4-BE49-F238E27FC236}">
                <a16:creationId xmlns:a16="http://schemas.microsoft.com/office/drawing/2014/main" id="{2E20605B-23FA-D456-546E-712325EE30DA}"/>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874378" y="3043966"/>
            <a:ext cx="501812" cy="501812"/>
          </a:xfrm>
          <a:prstGeom prst="rect">
            <a:avLst/>
          </a:prstGeom>
        </p:spPr>
      </p:pic>
      <p:grpSp>
        <p:nvGrpSpPr>
          <p:cNvPr id="110" name="Group 109">
            <a:extLst>
              <a:ext uri="{FF2B5EF4-FFF2-40B4-BE49-F238E27FC236}">
                <a16:creationId xmlns:a16="http://schemas.microsoft.com/office/drawing/2014/main" id="{5AFC3993-8FE8-29D5-42A9-17001D6187BF}"/>
              </a:ext>
            </a:extLst>
          </p:cNvPr>
          <p:cNvGrpSpPr>
            <a:grpSpLocks noChangeAspect="1"/>
          </p:cNvGrpSpPr>
          <p:nvPr/>
        </p:nvGrpSpPr>
        <p:grpSpPr>
          <a:xfrm>
            <a:off x="4620456" y="1677927"/>
            <a:ext cx="347185" cy="457200"/>
            <a:chOff x="2637127" y="996702"/>
            <a:chExt cx="208311" cy="204287"/>
          </a:xfrm>
          <a:solidFill>
            <a:srgbClr val="86BC25"/>
          </a:solidFill>
        </p:grpSpPr>
        <p:sp>
          <p:nvSpPr>
            <p:cNvPr id="107" name="Graphic 4">
              <a:extLst>
                <a:ext uri="{FF2B5EF4-FFF2-40B4-BE49-F238E27FC236}">
                  <a16:creationId xmlns:a16="http://schemas.microsoft.com/office/drawing/2014/main" id="{DF8774A0-9186-F173-AD9C-93B8B3C3C6DF}"/>
                </a:ext>
              </a:extLst>
            </p:cNvPr>
            <p:cNvSpPr/>
            <p:nvPr/>
          </p:nvSpPr>
          <p:spPr>
            <a:xfrm>
              <a:off x="2647989" y="1084801"/>
              <a:ext cx="187225" cy="39580"/>
            </a:xfrm>
            <a:custGeom>
              <a:avLst/>
              <a:gdLst>
                <a:gd name="connsiteX0" fmla="*/ 5751 w 187225"/>
                <a:gd name="connsiteY0" fmla="*/ 39581 h 39580"/>
                <a:gd name="connsiteX1" fmla="*/ 180835 w 187225"/>
                <a:gd name="connsiteY1" fmla="*/ 39581 h 39580"/>
                <a:gd name="connsiteX2" fmla="*/ 187225 w 187225"/>
                <a:gd name="connsiteY2" fmla="*/ 33197 h 39580"/>
                <a:gd name="connsiteX3" fmla="*/ 180835 w 187225"/>
                <a:gd name="connsiteY3" fmla="*/ 26813 h 39580"/>
                <a:gd name="connsiteX4" fmla="*/ 152719 w 187225"/>
                <a:gd name="connsiteY4" fmla="*/ 26813 h 39580"/>
                <a:gd name="connsiteX5" fmla="*/ 152719 w 187225"/>
                <a:gd name="connsiteY5" fmla="*/ 6384 h 39580"/>
                <a:gd name="connsiteX6" fmla="*/ 146330 w 187225"/>
                <a:gd name="connsiteY6" fmla="*/ 0 h 39580"/>
                <a:gd name="connsiteX7" fmla="*/ 139940 w 187225"/>
                <a:gd name="connsiteY7" fmla="*/ 6384 h 39580"/>
                <a:gd name="connsiteX8" fmla="*/ 139940 w 187225"/>
                <a:gd name="connsiteY8" fmla="*/ 26813 h 39580"/>
                <a:gd name="connsiteX9" fmla="*/ 117575 w 187225"/>
                <a:gd name="connsiteY9" fmla="*/ 26813 h 39580"/>
                <a:gd name="connsiteX10" fmla="*/ 117575 w 187225"/>
                <a:gd name="connsiteY10" fmla="*/ 6384 h 39580"/>
                <a:gd name="connsiteX11" fmla="*/ 111185 w 187225"/>
                <a:gd name="connsiteY11" fmla="*/ 0 h 39580"/>
                <a:gd name="connsiteX12" fmla="*/ 104795 w 187225"/>
                <a:gd name="connsiteY12" fmla="*/ 6384 h 39580"/>
                <a:gd name="connsiteX13" fmla="*/ 104795 w 187225"/>
                <a:gd name="connsiteY13" fmla="*/ 26813 h 39580"/>
                <a:gd name="connsiteX14" fmla="*/ 82430 w 187225"/>
                <a:gd name="connsiteY14" fmla="*/ 26813 h 39580"/>
                <a:gd name="connsiteX15" fmla="*/ 82430 w 187225"/>
                <a:gd name="connsiteY15" fmla="*/ 6384 h 39580"/>
                <a:gd name="connsiteX16" fmla="*/ 76040 w 187225"/>
                <a:gd name="connsiteY16" fmla="*/ 0 h 39580"/>
                <a:gd name="connsiteX17" fmla="*/ 69650 w 187225"/>
                <a:gd name="connsiteY17" fmla="*/ 6384 h 39580"/>
                <a:gd name="connsiteX18" fmla="*/ 69650 w 187225"/>
                <a:gd name="connsiteY18" fmla="*/ 26813 h 39580"/>
                <a:gd name="connsiteX19" fmla="*/ 47285 w 187225"/>
                <a:gd name="connsiteY19" fmla="*/ 26813 h 39580"/>
                <a:gd name="connsiteX20" fmla="*/ 47285 w 187225"/>
                <a:gd name="connsiteY20" fmla="*/ 6384 h 39580"/>
                <a:gd name="connsiteX21" fmla="*/ 40896 w 187225"/>
                <a:gd name="connsiteY21" fmla="*/ 0 h 39580"/>
                <a:gd name="connsiteX22" fmla="*/ 34506 w 187225"/>
                <a:gd name="connsiteY22" fmla="*/ 6384 h 39580"/>
                <a:gd name="connsiteX23" fmla="*/ 34506 w 187225"/>
                <a:gd name="connsiteY23" fmla="*/ 26813 h 39580"/>
                <a:gd name="connsiteX24" fmla="*/ 6390 w 187225"/>
                <a:gd name="connsiteY24" fmla="*/ 26813 h 39580"/>
                <a:gd name="connsiteX25" fmla="*/ 0 w 187225"/>
                <a:gd name="connsiteY25" fmla="*/ 33197 h 39580"/>
                <a:gd name="connsiteX26" fmla="*/ 5751 w 187225"/>
                <a:gd name="connsiteY26" fmla="*/ 39581 h 3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7225" h="39580">
                  <a:moveTo>
                    <a:pt x="5751" y="39581"/>
                  </a:moveTo>
                  <a:lnTo>
                    <a:pt x="180835" y="39581"/>
                  </a:lnTo>
                  <a:cubicBezTo>
                    <a:pt x="184669" y="39581"/>
                    <a:pt x="187225" y="37027"/>
                    <a:pt x="187225" y="33197"/>
                  </a:cubicBezTo>
                  <a:cubicBezTo>
                    <a:pt x="187225" y="29366"/>
                    <a:pt x="184669" y="26813"/>
                    <a:pt x="180835" y="26813"/>
                  </a:cubicBezTo>
                  <a:lnTo>
                    <a:pt x="152719" y="26813"/>
                  </a:lnTo>
                  <a:lnTo>
                    <a:pt x="152719" y="6384"/>
                  </a:lnTo>
                  <a:cubicBezTo>
                    <a:pt x="152719" y="2554"/>
                    <a:pt x="150164" y="0"/>
                    <a:pt x="146330" y="0"/>
                  </a:cubicBezTo>
                  <a:cubicBezTo>
                    <a:pt x="142496" y="0"/>
                    <a:pt x="139940" y="2554"/>
                    <a:pt x="139940" y="6384"/>
                  </a:cubicBezTo>
                  <a:lnTo>
                    <a:pt x="139940" y="26813"/>
                  </a:lnTo>
                  <a:lnTo>
                    <a:pt x="117575" y="26813"/>
                  </a:lnTo>
                  <a:lnTo>
                    <a:pt x="117575" y="6384"/>
                  </a:lnTo>
                  <a:cubicBezTo>
                    <a:pt x="117575" y="2554"/>
                    <a:pt x="115019" y="0"/>
                    <a:pt x="111185" y="0"/>
                  </a:cubicBezTo>
                  <a:cubicBezTo>
                    <a:pt x="107351" y="0"/>
                    <a:pt x="104795" y="2554"/>
                    <a:pt x="104795" y="6384"/>
                  </a:cubicBezTo>
                  <a:lnTo>
                    <a:pt x="104795" y="26813"/>
                  </a:lnTo>
                  <a:lnTo>
                    <a:pt x="82430" y="26813"/>
                  </a:lnTo>
                  <a:lnTo>
                    <a:pt x="82430" y="6384"/>
                  </a:lnTo>
                  <a:cubicBezTo>
                    <a:pt x="82430" y="2554"/>
                    <a:pt x="79874" y="0"/>
                    <a:pt x="76040" y="0"/>
                  </a:cubicBezTo>
                  <a:cubicBezTo>
                    <a:pt x="72206" y="0"/>
                    <a:pt x="69650" y="2554"/>
                    <a:pt x="69650" y="6384"/>
                  </a:cubicBezTo>
                  <a:lnTo>
                    <a:pt x="69650" y="26813"/>
                  </a:lnTo>
                  <a:lnTo>
                    <a:pt x="47285" y="26813"/>
                  </a:lnTo>
                  <a:lnTo>
                    <a:pt x="47285" y="6384"/>
                  </a:lnTo>
                  <a:cubicBezTo>
                    <a:pt x="47285" y="2554"/>
                    <a:pt x="44730" y="0"/>
                    <a:pt x="40896" y="0"/>
                  </a:cubicBezTo>
                  <a:cubicBezTo>
                    <a:pt x="37062" y="0"/>
                    <a:pt x="34506" y="2554"/>
                    <a:pt x="34506" y="6384"/>
                  </a:cubicBezTo>
                  <a:lnTo>
                    <a:pt x="34506" y="26813"/>
                  </a:lnTo>
                  <a:lnTo>
                    <a:pt x="6390" y="26813"/>
                  </a:lnTo>
                  <a:cubicBezTo>
                    <a:pt x="2556" y="26813"/>
                    <a:pt x="0" y="29366"/>
                    <a:pt x="0" y="33197"/>
                  </a:cubicBezTo>
                  <a:cubicBezTo>
                    <a:pt x="0" y="37027"/>
                    <a:pt x="2556" y="39581"/>
                    <a:pt x="5751" y="39581"/>
                  </a:cubicBezTo>
                  <a:close/>
                </a:path>
              </a:pathLst>
            </a:custGeom>
            <a:grpFill/>
            <a:ln w="6390" cap="flat">
              <a:noFill/>
              <a:prstDash val="solid"/>
              <a:miter/>
            </a:ln>
          </p:spPr>
          <p:txBody>
            <a:bodyPr rtlCol="0" anchor="ctr"/>
            <a:lstStyle/>
            <a:p>
              <a:endParaRPr lang="en-US"/>
            </a:p>
          </p:txBody>
        </p:sp>
        <p:sp>
          <p:nvSpPr>
            <p:cNvPr id="108" name="Graphic 4">
              <a:extLst>
                <a:ext uri="{FF2B5EF4-FFF2-40B4-BE49-F238E27FC236}">
                  <a16:creationId xmlns:a16="http://schemas.microsoft.com/office/drawing/2014/main" id="{2654AD89-850A-4137-B751-86FA4F2FA547}"/>
                </a:ext>
              </a:extLst>
            </p:cNvPr>
            <p:cNvSpPr/>
            <p:nvPr/>
          </p:nvSpPr>
          <p:spPr>
            <a:xfrm>
              <a:off x="2668437" y="996702"/>
              <a:ext cx="145690" cy="81714"/>
            </a:xfrm>
            <a:custGeom>
              <a:avLst/>
              <a:gdLst>
                <a:gd name="connsiteX0" fmla="*/ 6390 w 145690"/>
                <a:gd name="connsiteY0" fmla="*/ 81715 h 81714"/>
                <a:gd name="connsiteX1" fmla="*/ 139301 w 145690"/>
                <a:gd name="connsiteY1" fmla="*/ 81715 h 81714"/>
                <a:gd name="connsiteX2" fmla="*/ 145690 w 145690"/>
                <a:gd name="connsiteY2" fmla="*/ 75331 h 81714"/>
                <a:gd name="connsiteX3" fmla="*/ 139301 w 145690"/>
                <a:gd name="connsiteY3" fmla="*/ 68947 h 81714"/>
                <a:gd name="connsiteX4" fmla="*/ 130994 w 145690"/>
                <a:gd name="connsiteY4" fmla="*/ 68947 h 81714"/>
                <a:gd name="connsiteX5" fmla="*/ 79235 w 145690"/>
                <a:gd name="connsiteY5" fmla="*/ 26813 h 81714"/>
                <a:gd name="connsiteX6" fmla="*/ 79235 w 145690"/>
                <a:gd name="connsiteY6" fmla="*/ 6384 h 81714"/>
                <a:gd name="connsiteX7" fmla="*/ 72845 w 145690"/>
                <a:gd name="connsiteY7" fmla="*/ 0 h 81714"/>
                <a:gd name="connsiteX8" fmla="*/ 66455 w 145690"/>
                <a:gd name="connsiteY8" fmla="*/ 6384 h 81714"/>
                <a:gd name="connsiteX9" fmla="*/ 66455 w 145690"/>
                <a:gd name="connsiteY9" fmla="*/ 26813 h 81714"/>
                <a:gd name="connsiteX10" fmla="*/ 14697 w 145690"/>
                <a:gd name="connsiteY10" fmla="*/ 68947 h 81714"/>
                <a:gd name="connsiteX11" fmla="*/ 6390 w 145690"/>
                <a:gd name="connsiteY11" fmla="*/ 68947 h 81714"/>
                <a:gd name="connsiteX12" fmla="*/ 0 w 145690"/>
                <a:gd name="connsiteY12" fmla="*/ 75331 h 81714"/>
                <a:gd name="connsiteX13" fmla="*/ 6390 w 145690"/>
                <a:gd name="connsiteY13" fmla="*/ 81715 h 81714"/>
                <a:gd name="connsiteX14" fmla="*/ 6390 w 145690"/>
                <a:gd name="connsiteY14" fmla="*/ 81715 h 81714"/>
                <a:gd name="connsiteX15" fmla="*/ 72845 w 145690"/>
                <a:gd name="connsiteY15" fmla="*/ 39581 h 81714"/>
                <a:gd name="connsiteX16" fmla="*/ 117575 w 145690"/>
                <a:gd name="connsiteY16" fmla="*/ 68947 h 81714"/>
                <a:gd name="connsiteX17" fmla="*/ 28116 w 145690"/>
                <a:gd name="connsiteY17" fmla="*/ 68947 h 81714"/>
                <a:gd name="connsiteX18" fmla="*/ 72845 w 145690"/>
                <a:gd name="connsiteY18" fmla="*/ 39581 h 8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5690" h="81714">
                  <a:moveTo>
                    <a:pt x="6390" y="81715"/>
                  </a:moveTo>
                  <a:lnTo>
                    <a:pt x="139301" y="81715"/>
                  </a:lnTo>
                  <a:cubicBezTo>
                    <a:pt x="143135" y="81715"/>
                    <a:pt x="145690" y="79161"/>
                    <a:pt x="145690" y="75331"/>
                  </a:cubicBezTo>
                  <a:cubicBezTo>
                    <a:pt x="145690" y="71501"/>
                    <a:pt x="143135" y="68947"/>
                    <a:pt x="139301" y="68947"/>
                  </a:cubicBezTo>
                  <a:lnTo>
                    <a:pt x="130994" y="68947"/>
                  </a:lnTo>
                  <a:cubicBezTo>
                    <a:pt x="123326" y="45965"/>
                    <a:pt x="103517" y="29366"/>
                    <a:pt x="79235" y="26813"/>
                  </a:cubicBezTo>
                  <a:lnTo>
                    <a:pt x="79235" y="6384"/>
                  </a:lnTo>
                  <a:cubicBezTo>
                    <a:pt x="79235" y="2554"/>
                    <a:pt x="76679" y="0"/>
                    <a:pt x="72845" y="0"/>
                  </a:cubicBezTo>
                  <a:cubicBezTo>
                    <a:pt x="69011" y="0"/>
                    <a:pt x="66455" y="2554"/>
                    <a:pt x="66455" y="6384"/>
                  </a:cubicBezTo>
                  <a:lnTo>
                    <a:pt x="66455" y="26813"/>
                  </a:lnTo>
                  <a:cubicBezTo>
                    <a:pt x="42174" y="29366"/>
                    <a:pt x="22365" y="45965"/>
                    <a:pt x="14697" y="68947"/>
                  </a:cubicBezTo>
                  <a:lnTo>
                    <a:pt x="6390" y="68947"/>
                  </a:lnTo>
                  <a:cubicBezTo>
                    <a:pt x="2556" y="68947"/>
                    <a:pt x="0" y="71501"/>
                    <a:pt x="0" y="75331"/>
                  </a:cubicBezTo>
                  <a:cubicBezTo>
                    <a:pt x="0" y="79161"/>
                    <a:pt x="2556" y="81715"/>
                    <a:pt x="6390" y="81715"/>
                  </a:cubicBezTo>
                  <a:lnTo>
                    <a:pt x="6390" y="81715"/>
                  </a:lnTo>
                  <a:close/>
                  <a:moveTo>
                    <a:pt x="72845" y="39581"/>
                  </a:moveTo>
                  <a:cubicBezTo>
                    <a:pt x="92015" y="39581"/>
                    <a:pt x="109907" y="51710"/>
                    <a:pt x="117575" y="68947"/>
                  </a:cubicBezTo>
                  <a:lnTo>
                    <a:pt x="28116" y="68947"/>
                  </a:lnTo>
                  <a:cubicBezTo>
                    <a:pt x="35784" y="51072"/>
                    <a:pt x="53036" y="39581"/>
                    <a:pt x="72845" y="39581"/>
                  </a:cubicBezTo>
                  <a:close/>
                </a:path>
              </a:pathLst>
            </a:custGeom>
            <a:grpFill/>
            <a:ln w="6390" cap="flat">
              <a:noFill/>
              <a:prstDash val="solid"/>
              <a:miter/>
            </a:ln>
          </p:spPr>
          <p:txBody>
            <a:bodyPr rtlCol="0" anchor="ctr"/>
            <a:lstStyle/>
            <a:p>
              <a:endParaRPr lang="en-US"/>
            </a:p>
          </p:txBody>
        </p:sp>
        <p:sp>
          <p:nvSpPr>
            <p:cNvPr id="109" name="Graphic 4">
              <a:extLst>
                <a:ext uri="{FF2B5EF4-FFF2-40B4-BE49-F238E27FC236}">
                  <a16:creationId xmlns:a16="http://schemas.microsoft.com/office/drawing/2014/main" id="{296B539E-6EDE-EEBE-1F05-D26E0BD62394}"/>
                </a:ext>
              </a:extLst>
            </p:cNvPr>
            <p:cNvSpPr/>
            <p:nvPr/>
          </p:nvSpPr>
          <p:spPr>
            <a:xfrm>
              <a:off x="2637127" y="1131404"/>
              <a:ext cx="208311" cy="69585"/>
            </a:xfrm>
            <a:custGeom>
              <a:avLst/>
              <a:gdLst>
                <a:gd name="connsiteX0" fmla="*/ 201922 w 208311"/>
                <a:gd name="connsiteY0" fmla="*/ 56817 h 69585"/>
                <a:gd name="connsiteX1" fmla="*/ 185308 w 208311"/>
                <a:gd name="connsiteY1" fmla="*/ 56817 h 69585"/>
                <a:gd name="connsiteX2" fmla="*/ 185308 w 208311"/>
                <a:gd name="connsiteY2" fmla="*/ 6384 h 69585"/>
                <a:gd name="connsiteX3" fmla="*/ 178918 w 208311"/>
                <a:gd name="connsiteY3" fmla="*/ 0 h 69585"/>
                <a:gd name="connsiteX4" fmla="*/ 172528 w 208311"/>
                <a:gd name="connsiteY4" fmla="*/ 6384 h 69585"/>
                <a:gd name="connsiteX5" fmla="*/ 172528 w 208311"/>
                <a:gd name="connsiteY5" fmla="*/ 56817 h 69585"/>
                <a:gd name="connsiteX6" fmla="*/ 147607 w 208311"/>
                <a:gd name="connsiteY6" fmla="*/ 56817 h 69585"/>
                <a:gd name="connsiteX7" fmla="*/ 147607 w 208311"/>
                <a:gd name="connsiteY7" fmla="*/ 6384 h 69585"/>
                <a:gd name="connsiteX8" fmla="*/ 141217 w 208311"/>
                <a:gd name="connsiteY8" fmla="*/ 0 h 69585"/>
                <a:gd name="connsiteX9" fmla="*/ 134828 w 208311"/>
                <a:gd name="connsiteY9" fmla="*/ 6384 h 69585"/>
                <a:gd name="connsiteX10" fmla="*/ 134828 w 208311"/>
                <a:gd name="connsiteY10" fmla="*/ 56817 h 69585"/>
                <a:gd name="connsiteX11" fmla="*/ 109907 w 208311"/>
                <a:gd name="connsiteY11" fmla="*/ 56817 h 69585"/>
                <a:gd name="connsiteX12" fmla="*/ 109907 w 208311"/>
                <a:gd name="connsiteY12" fmla="*/ 6384 h 69585"/>
                <a:gd name="connsiteX13" fmla="*/ 103517 w 208311"/>
                <a:gd name="connsiteY13" fmla="*/ 0 h 69585"/>
                <a:gd name="connsiteX14" fmla="*/ 97127 w 208311"/>
                <a:gd name="connsiteY14" fmla="*/ 6384 h 69585"/>
                <a:gd name="connsiteX15" fmla="*/ 97127 w 208311"/>
                <a:gd name="connsiteY15" fmla="*/ 56817 h 69585"/>
                <a:gd name="connsiteX16" fmla="*/ 72206 w 208311"/>
                <a:gd name="connsiteY16" fmla="*/ 56817 h 69585"/>
                <a:gd name="connsiteX17" fmla="*/ 72206 w 208311"/>
                <a:gd name="connsiteY17" fmla="*/ 6384 h 69585"/>
                <a:gd name="connsiteX18" fmla="*/ 65816 w 208311"/>
                <a:gd name="connsiteY18" fmla="*/ 0 h 69585"/>
                <a:gd name="connsiteX19" fmla="*/ 59426 w 208311"/>
                <a:gd name="connsiteY19" fmla="*/ 6384 h 69585"/>
                <a:gd name="connsiteX20" fmla="*/ 59426 w 208311"/>
                <a:gd name="connsiteY20" fmla="*/ 56817 h 69585"/>
                <a:gd name="connsiteX21" fmla="*/ 34506 w 208311"/>
                <a:gd name="connsiteY21" fmla="*/ 56817 h 69585"/>
                <a:gd name="connsiteX22" fmla="*/ 34506 w 208311"/>
                <a:gd name="connsiteY22" fmla="*/ 6384 h 69585"/>
                <a:gd name="connsiteX23" fmla="*/ 28116 w 208311"/>
                <a:gd name="connsiteY23" fmla="*/ 0 h 69585"/>
                <a:gd name="connsiteX24" fmla="*/ 21726 w 208311"/>
                <a:gd name="connsiteY24" fmla="*/ 6384 h 69585"/>
                <a:gd name="connsiteX25" fmla="*/ 21726 w 208311"/>
                <a:gd name="connsiteY25" fmla="*/ 56817 h 69585"/>
                <a:gd name="connsiteX26" fmla="*/ 6390 w 208311"/>
                <a:gd name="connsiteY26" fmla="*/ 56817 h 69585"/>
                <a:gd name="connsiteX27" fmla="*/ 0 w 208311"/>
                <a:gd name="connsiteY27" fmla="*/ 63201 h 69585"/>
                <a:gd name="connsiteX28" fmla="*/ 6390 w 208311"/>
                <a:gd name="connsiteY28" fmla="*/ 69585 h 69585"/>
                <a:gd name="connsiteX29" fmla="*/ 201922 w 208311"/>
                <a:gd name="connsiteY29" fmla="*/ 69585 h 69585"/>
                <a:gd name="connsiteX30" fmla="*/ 208312 w 208311"/>
                <a:gd name="connsiteY30" fmla="*/ 63201 h 69585"/>
                <a:gd name="connsiteX31" fmla="*/ 201922 w 208311"/>
                <a:gd name="connsiteY31" fmla="*/ 56817 h 69585"/>
                <a:gd name="connsiteX32" fmla="*/ 201922 w 208311"/>
                <a:gd name="connsiteY32" fmla="*/ 56817 h 69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08311" h="69585">
                  <a:moveTo>
                    <a:pt x="201922" y="56817"/>
                  </a:moveTo>
                  <a:lnTo>
                    <a:pt x="185308" y="56817"/>
                  </a:lnTo>
                  <a:lnTo>
                    <a:pt x="185308" y="6384"/>
                  </a:lnTo>
                  <a:cubicBezTo>
                    <a:pt x="185308" y="2554"/>
                    <a:pt x="182752" y="0"/>
                    <a:pt x="178918" y="0"/>
                  </a:cubicBezTo>
                  <a:cubicBezTo>
                    <a:pt x="175084" y="0"/>
                    <a:pt x="172528" y="2554"/>
                    <a:pt x="172528" y="6384"/>
                  </a:cubicBezTo>
                  <a:lnTo>
                    <a:pt x="172528" y="56817"/>
                  </a:lnTo>
                  <a:lnTo>
                    <a:pt x="147607" y="56817"/>
                  </a:lnTo>
                  <a:lnTo>
                    <a:pt x="147607" y="6384"/>
                  </a:lnTo>
                  <a:cubicBezTo>
                    <a:pt x="147607" y="2554"/>
                    <a:pt x="145051" y="0"/>
                    <a:pt x="141217" y="0"/>
                  </a:cubicBezTo>
                  <a:cubicBezTo>
                    <a:pt x="137384" y="0"/>
                    <a:pt x="134828" y="2554"/>
                    <a:pt x="134828" y="6384"/>
                  </a:cubicBezTo>
                  <a:lnTo>
                    <a:pt x="134828" y="56817"/>
                  </a:lnTo>
                  <a:lnTo>
                    <a:pt x="109907" y="56817"/>
                  </a:lnTo>
                  <a:lnTo>
                    <a:pt x="109907" y="6384"/>
                  </a:lnTo>
                  <a:cubicBezTo>
                    <a:pt x="109907" y="2554"/>
                    <a:pt x="107351" y="0"/>
                    <a:pt x="103517" y="0"/>
                  </a:cubicBezTo>
                  <a:cubicBezTo>
                    <a:pt x="99683" y="0"/>
                    <a:pt x="97127" y="2554"/>
                    <a:pt x="97127" y="6384"/>
                  </a:cubicBezTo>
                  <a:lnTo>
                    <a:pt x="97127" y="56817"/>
                  </a:lnTo>
                  <a:lnTo>
                    <a:pt x="72206" y="56817"/>
                  </a:lnTo>
                  <a:lnTo>
                    <a:pt x="72206" y="6384"/>
                  </a:lnTo>
                  <a:cubicBezTo>
                    <a:pt x="72206" y="2554"/>
                    <a:pt x="69650" y="0"/>
                    <a:pt x="65816" y="0"/>
                  </a:cubicBezTo>
                  <a:cubicBezTo>
                    <a:pt x="61982" y="0"/>
                    <a:pt x="59426" y="2554"/>
                    <a:pt x="59426" y="6384"/>
                  </a:cubicBezTo>
                  <a:lnTo>
                    <a:pt x="59426" y="56817"/>
                  </a:lnTo>
                  <a:lnTo>
                    <a:pt x="34506" y="56817"/>
                  </a:lnTo>
                  <a:lnTo>
                    <a:pt x="34506" y="6384"/>
                  </a:lnTo>
                  <a:cubicBezTo>
                    <a:pt x="34506" y="2554"/>
                    <a:pt x="31950" y="0"/>
                    <a:pt x="28116" y="0"/>
                  </a:cubicBezTo>
                  <a:cubicBezTo>
                    <a:pt x="24282" y="0"/>
                    <a:pt x="21726" y="2554"/>
                    <a:pt x="21726" y="6384"/>
                  </a:cubicBezTo>
                  <a:lnTo>
                    <a:pt x="21726" y="56817"/>
                  </a:lnTo>
                  <a:lnTo>
                    <a:pt x="6390" y="56817"/>
                  </a:lnTo>
                  <a:cubicBezTo>
                    <a:pt x="2556" y="56817"/>
                    <a:pt x="0" y="59371"/>
                    <a:pt x="0" y="63201"/>
                  </a:cubicBezTo>
                  <a:cubicBezTo>
                    <a:pt x="0" y="67032"/>
                    <a:pt x="2556" y="69585"/>
                    <a:pt x="6390" y="69585"/>
                  </a:cubicBezTo>
                  <a:lnTo>
                    <a:pt x="201922" y="69585"/>
                  </a:lnTo>
                  <a:cubicBezTo>
                    <a:pt x="205756" y="69585"/>
                    <a:pt x="208312" y="67032"/>
                    <a:pt x="208312" y="63201"/>
                  </a:cubicBezTo>
                  <a:cubicBezTo>
                    <a:pt x="208312" y="59371"/>
                    <a:pt x="205756" y="56817"/>
                    <a:pt x="201922" y="56817"/>
                  </a:cubicBezTo>
                  <a:lnTo>
                    <a:pt x="201922" y="56817"/>
                  </a:lnTo>
                  <a:close/>
                </a:path>
              </a:pathLst>
            </a:custGeom>
            <a:grpFill/>
            <a:ln w="6390" cap="flat">
              <a:noFill/>
              <a:prstDash val="solid"/>
              <a:miter/>
            </a:ln>
          </p:spPr>
          <p:txBody>
            <a:bodyPr rtlCol="0" anchor="ctr"/>
            <a:lstStyle/>
            <a:p>
              <a:endParaRPr lang="en-US"/>
            </a:p>
          </p:txBody>
        </p:sp>
      </p:grpSp>
      <p:sp>
        <p:nvSpPr>
          <p:cNvPr id="113" name="Graphic 4">
            <a:extLst>
              <a:ext uri="{FF2B5EF4-FFF2-40B4-BE49-F238E27FC236}">
                <a16:creationId xmlns:a16="http://schemas.microsoft.com/office/drawing/2014/main" id="{7A7BCEB6-CC1D-97FF-B167-E740ADAE8027}"/>
              </a:ext>
            </a:extLst>
          </p:cNvPr>
          <p:cNvSpPr/>
          <p:nvPr/>
        </p:nvSpPr>
        <p:spPr>
          <a:xfrm>
            <a:off x="5905290" y="4487455"/>
            <a:ext cx="456026" cy="323896"/>
          </a:xfrm>
          <a:custGeom>
            <a:avLst/>
            <a:gdLst>
              <a:gd name="connsiteX0" fmla="*/ 256637 w 257430"/>
              <a:gd name="connsiteY0" fmla="*/ 88999 h 182843"/>
              <a:gd name="connsiteX1" fmla="*/ 248330 w 257430"/>
              <a:gd name="connsiteY1" fmla="*/ 85168 h 182843"/>
              <a:gd name="connsiteX2" fmla="*/ 221492 w 257430"/>
              <a:gd name="connsiteY2" fmla="*/ 96021 h 182843"/>
              <a:gd name="connsiteX3" fmla="*/ 212546 w 257430"/>
              <a:gd name="connsiteY3" fmla="*/ 85168 h 182843"/>
              <a:gd name="connsiteX4" fmla="*/ 205517 w 257430"/>
              <a:gd name="connsiteY4" fmla="*/ 76231 h 182843"/>
              <a:gd name="connsiteX5" fmla="*/ 225326 w 257430"/>
              <a:gd name="connsiteY5" fmla="*/ 69847 h 182843"/>
              <a:gd name="connsiteX6" fmla="*/ 227243 w 257430"/>
              <a:gd name="connsiteY6" fmla="*/ 60909 h 182843"/>
              <a:gd name="connsiteX7" fmla="*/ 218297 w 257430"/>
              <a:gd name="connsiteY7" fmla="*/ 58994 h 182843"/>
              <a:gd name="connsiteX8" fmla="*/ 188904 w 257430"/>
              <a:gd name="connsiteY8" fmla="*/ 62186 h 182843"/>
              <a:gd name="connsiteX9" fmla="*/ 188904 w 257430"/>
              <a:gd name="connsiteY9" fmla="*/ 62186 h 182843"/>
              <a:gd name="connsiteX10" fmla="*/ 188264 w 257430"/>
              <a:gd name="connsiteY10" fmla="*/ 62186 h 182843"/>
              <a:gd name="connsiteX11" fmla="*/ 156314 w 257430"/>
              <a:gd name="connsiteY11" fmla="*/ 49418 h 182843"/>
              <a:gd name="connsiteX12" fmla="*/ 155676 w 257430"/>
              <a:gd name="connsiteY12" fmla="*/ 49418 h 182843"/>
              <a:gd name="connsiteX13" fmla="*/ 155037 w 257430"/>
              <a:gd name="connsiteY13" fmla="*/ 49418 h 182843"/>
              <a:gd name="connsiteX14" fmla="*/ 153119 w 257430"/>
              <a:gd name="connsiteY14" fmla="*/ 49418 h 182843"/>
              <a:gd name="connsiteX15" fmla="*/ 153119 w 257430"/>
              <a:gd name="connsiteY15" fmla="*/ 49418 h 182843"/>
              <a:gd name="connsiteX16" fmla="*/ 105834 w 257430"/>
              <a:gd name="connsiteY16" fmla="*/ 54525 h 182843"/>
              <a:gd name="connsiteX17" fmla="*/ 103278 w 257430"/>
              <a:gd name="connsiteY17" fmla="*/ 55164 h 182843"/>
              <a:gd name="connsiteX18" fmla="*/ 73245 w 257430"/>
              <a:gd name="connsiteY18" fmla="*/ 58356 h 182843"/>
              <a:gd name="connsiteX19" fmla="*/ 96888 w 257430"/>
              <a:gd name="connsiteY19" fmla="*/ 37289 h 182843"/>
              <a:gd name="connsiteX20" fmla="*/ 127560 w 257430"/>
              <a:gd name="connsiteY20" fmla="*/ 25797 h 182843"/>
              <a:gd name="connsiteX21" fmla="*/ 149286 w 257430"/>
              <a:gd name="connsiteY21" fmla="*/ 25159 h 182843"/>
              <a:gd name="connsiteX22" fmla="*/ 161427 w 257430"/>
              <a:gd name="connsiteY22" fmla="*/ 25797 h 182843"/>
              <a:gd name="connsiteX23" fmla="*/ 199127 w 257430"/>
              <a:gd name="connsiteY23" fmla="*/ 25797 h 182843"/>
              <a:gd name="connsiteX24" fmla="*/ 199127 w 257430"/>
              <a:gd name="connsiteY24" fmla="*/ 25797 h 182843"/>
              <a:gd name="connsiteX25" fmla="*/ 208073 w 257430"/>
              <a:gd name="connsiteY25" fmla="*/ 23244 h 182843"/>
              <a:gd name="connsiteX26" fmla="*/ 228521 w 257430"/>
              <a:gd name="connsiteY26" fmla="*/ 12391 h 182843"/>
              <a:gd name="connsiteX27" fmla="*/ 231077 w 257430"/>
              <a:gd name="connsiteY27" fmla="*/ 3454 h 182843"/>
              <a:gd name="connsiteX28" fmla="*/ 222131 w 257430"/>
              <a:gd name="connsiteY28" fmla="*/ 900 h 182843"/>
              <a:gd name="connsiteX29" fmla="*/ 201044 w 257430"/>
              <a:gd name="connsiteY29" fmla="*/ 11753 h 182843"/>
              <a:gd name="connsiteX30" fmla="*/ 198489 w 257430"/>
              <a:gd name="connsiteY30" fmla="*/ 12391 h 182843"/>
              <a:gd name="connsiteX31" fmla="*/ 160788 w 257430"/>
              <a:gd name="connsiteY31" fmla="*/ 12391 h 182843"/>
              <a:gd name="connsiteX32" fmla="*/ 149924 w 257430"/>
              <a:gd name="connsiteY32" fmla="*/ 11753 h 182843"/>
              <a:gd name="connsiteX33" fmla="*/ 122448 w 257430"/>
              <a:gd name="connsiteY33" fmla="*/ 13668 h 182843"/>
              <a:gd name="connsiteX34" fmla="*/ 121809 w 257430"/>
              <a:gd name="connsiteY34" fmla="*/ 13668 h 182843"/>
              <a:gd name="connsiteX35" fmla="*/ 105834 w 257430"/>
              <a:gd name="connsiteY35" fmla="*/ 8561 h 182843"/>
              <a:gd name="connsiteX36" fmla="*/ 104556 w 257430"/>
              <a:gd name="connsiteY36" fmla="*/ 8561 h 182843"/>
              <a:gd name="connsiteX37" fmla="*/ 95610 w 257430"/>
              <a:gd name="connsiteY37" fmla="*/ 9199 h 182843"/>
              <a:gd name="connsiteX38" fmla="*/ 64300 w 257430"/>
              <a:gd name="connsiteY38" fmla="*/ 16221 h 182843"/>
              <a:gd name="connsiteX39" fmla="*/ 58549 w 257430"/>
              <a:gd name="connsiteY39" fmla="*/ 16221 h 182843"/>
              <a:gd name="connsiteX40" fmla="*/ 40657 w 257430"/>
              <a:gd name="connsiteY40" fmla="*/ 7922 h 182843"/>
              <a:gd name="connsiteX41" fmla="*/ 32350 w 257430"/>
              <a:gd name="connsiteY41" fmla="*/ 11114 h 182843"/>
              <a:gd name="connsiteX42" fmla="*/ 35545 w 257430"/>
              <a:gd name="connsiteY42" fmla="*/ 19413 h 182843"/>
              <a:gd name="connsiteX43" fmla="*/ 54075 w 257430"/>
              <a:gd name="connsiteY43" fmla="*/ 27713 h 182843"/>
              <a:gd name="connsiteX44" fmla="*/ 62383 w 257430"/>
              <a:gd name="connsiteY44" fmla="*/ 28989 h 182843"/>
              <a:gd name="connsiteX45" fmla="*/ 67495 w 257430"/>
              <a:gd name="connsiteY45" fmla="*/ 28351 h 182843"/>
              <a:gd name="connsiteX46" fmla="*/ 98805 w 257430"/>
              <a:gd name="connsiteY46" fmla="*/ 21329 h 182843"/>
              <a:gd name="connsiteX47" fmla="*/ 102640 w 257430"/>
              <a:gd name="connsiteY47" fmla="*/ 21329 h 182843"/>
              <a:gd name="connsiteX48" fmla="*/ 103278 w 257430"/>
              <a:gd name="connsiteY48" fmla="*/ 21329 h 182843"/>
              <a:gd name="connsiteX49" fmla="*/ 91137 w 257430"/>
              <a:gd name="connsiteY49" fmla="*/ 25797 h 182843"/>
              <a:gd name="connsiteX50" fmla="*/ 89220 w 257430"/>
              <a:gd name="connsiteY50" fmla="*/ 27074 h 182843"/>
              <a:gd name="connsiteX51" fmla="*/ 68134 w 257430"/>
              <a:gd name="connsiteY51" fmla="*/ 45588 h 182843"/>
              <a:gd name="connsiteX52" fmla="*/ 61744 w 257430"/>
              <a:gd name="connsiteY52" fmla="*/ 51333 h 182843"/>
              <a:gd name="connsiteX53" fmla="*/ 60465 w 257430"/>
              <a:gd name="connsiteY53" fmla="*/ 63463 h 182843"/>
              <a:gd name="connsiteX54" fmla="*/ 82191 w 257430"/>
              <a:gd name="connsiteY54" fmla="*/ 75592 h 182843"/>
              <a:gd name="connsiteX55" fmla="*/ 108390 w 257430"/>
              <a:gd name="connsiteY55" fmla="*/ 66655 h 182843"/>
              <a:gd name="connsiteX56" fmla="*/ 153119 w 257430"/>
              <a:gd name="connsiteY56" fmla="*/ 62186 h 182843"/>
              <a:gd name="connsiteX57" fmla="*/ 183791 w 257430"/>
              <a:gd name="connsiteY57" fmla="*/ 74316 h 182843"/>
              <a:gd name="connsiteX58" fmla="*/ 195294 w 257430"/>
              <a:gd name="connsiteY58" fmla="*/ 82615 h 182843"/>
              <a:gd name="connsiteX59" fmla="*/ 203600 w 257430"/>
              <a:gd name="connsiteY59" fmla="*/ 92829 h 182843"/>
              <a:gd name="connsiteX60" fmla="*/ 215102 w 257430"/>
              <a:gd name="connsiteY60" fmla="*/ 106874 h 182843"/>
              <a:gd name="connsiteX61" fmla="*/ 215102 w 257430"/>
              <a:gd name="connsiteY61" fmla="*/ 106874 h 182843"/>
              <a:gd name="connsiteX62" fmla="*/ 215102 w 257430"/>
              <a:gd name="connsiteY62" fmla="*/ 106874 h 182843"/>
              <a:gd name="connsiteX63" fmla="*/ 217019 w 257430"/>
              <a:gd name="connsiteY63" fmla="*/ 108789 h 182843"/>
              <a:gd name="connsiteX64" fmla="*/ 218936 w 257430"/>
              <a:gd name="connsiteY64" fmla="*/ 111343 h 182843"/>
              <a:gd name="connsiteX65" fmla="*/ 217019 w 257430"/>
              <a:gd name="connsiteY65" fmla="*/ 113258 h 182843"/>
              <a:gd name="connsiteX66" fmla="*/ 215741 w 257430"/>
              <a:gd name="connsiteY66" fmla="*/ 113896 h 182843"/>
              <a:gd name="connsiteX67" fmla="*/ 211907 w 257430"/>
              <a:gd name="connsiteY67" fmla="*/ 117088 h 182843"/>
              <a:gd name="connsiteX68" fmla="*/ 199766 w 257430"/>
              <a:gd name="connsiteY68" fmla="*/ 106874 h 182843"/>
              <a:gd name="connsiteX69" fmla="*/ 185709 w 257430"/>
              <a:gd name="connsiteY69" fmla="*/ 94744 h 182843"/>
              <a:gd name="connsiteX70" fmla="*/ 176763 w 257430"/>
              <a:gd name="connsiteY70" fmla="*/ 96021 h 182843"/>
              <a:gd name="connsiteX71" fmla="*/ 178040 w 257430"/>
              <a:gd name="connsiteY71" fmla="*/ 104959 h 182843"/>
              <a:gd name="connsiteX72" fmla="*/ 191459 w 257430"/>
              <a:gd name="connsiteY72" fmla="*/ 116450 h 182843"/>
              <a:gd name="connsiteX73" fmla="*/ 201684 w 257430"/>
              <a:gd name="connsiteY73" fmla="*/ 125387 h 182843"/>
              <a:gd name="connsiteX74" fmla="*/ 202322 w 257430"/>
              <a:gd name="connsiteY74" fmla="*/ 126026 h 182843"/>
              <a:gd name="connsiteX75" fmla="*/ 204239 w 257430"/>
              <a:gd name="connsiteY75" fmla="*/ 129856 h 182843"/>
              <a:gd name="connsiteX76" fmla="*/ 201044 w 257430"/>
              <a:gd name="connsiteY76" fmla="*/ 134325 h 182843"/>
              <a:gd name="connsiteX77" fmla="*/ 196571 w 257430"/>
              <a:gd name="connsiteY77" fmla="*/ 137517 h 182843"/>
              <a:gd name="connsiteX78" fmla="*/ 190181 w 257430"/>
              <a:gd name="connsiteY78" fmla="*/ 133048 h 182843"/>
              <a:gd name="connsiteX79" fmla="*/ 180596 w 257430"/>
              <a:gd name="connsiteY79" fmla="*/ 124749 h 182843"/>
              <a:gd name="connsiteX80" fmla="*/ 179319 w 257430"/>
              <a:gd name="connsiteY80" fmla="*/ 123472 h 182843"/>
              <a:gd name="connsiteX81" fmla="*/ 166539 w 257430"/>
              <a:gd name="connsiteY81" fmla="*/ 111343 h 182843"/>
              <a:gd name="connsiteX82" fmla="*/ 157593 w 257430"/>
              <a:gd name="connsiteY82" fmla="*/ 111981 h 182843"/>
              <a:gd name="connsiteX83" fmla="*/ 158232 w 257430"/>
              <a:gd name="connsiteY83" fmla="*/ 120919 h 182843"/>
              <a:gd name="connsiteX84" fmla="*/ 170373 w 257430"/>
              <a:gd name="connsiteY84" fmla="*/ 131771 h 182843"/>
              <a:gd name="connsiteX85" fmla="*/ 172289 w 257430"/>
              <a:gd name="connsiteY85" fmla="*/ 133687 h 182843"/>
              <a:gd name="connsiteX86" fmla="*/ 172289 w 257430"/>
              <a:gd name="connsiteY86" fmla="*/ 133687 h 182843"/>
              <a:gd name="connsiteX87" fmla="*/ 172289 w 257430"/>
              <a:gd name="connsiteY87" fmla="*/ 133687 h 182843"/>
              <a:gd name="connsiteX88" fmla="*/ 179319 w 257430"/>
              <a:gd name="connsiteY88" fmla="*/ 140709 h 182843"/>
              <a:gd name="connsiteX89" fmla="*/ 181235 w 257430"/>
              <a:gd name="connsiteY89" fmla="*/ 141986 h 182843"/>
              <a:gd name="connsiteX90" fmla="*/ 182514 w 257430"/>
              <a:gd name="connsiteY90" fmla="*/ 142624 h 182843"/>
              <a:gd name="connsiteX91" fmla="*/ 179319 w 257430"/>
              <a:gd name="connsiteY91" fmla="*/ 147093 h 182843"/>
              <a:gd name="connsiteX92" fmla="*/ 175484 w 257430"/>
              <a:gd name="connsiteY92" fmla="*/ 150285 h 182843"/>
              <a:gd name="connsiteX93" fmla="*/ 163983 w 257430"/>
              <a:gd name="connsiteY93" fmla="*/ 140709 h 182843"/>
              <a:gd name="connsiteX94" fmla="*/ 149924 w 257430"/>
              <a:gd name="connsiteY94" fmla="*/ 128579 h 182843"/>
              <a:gd name="connsiteX95" fmla="*/ 140979 w 257430"/>
              <a:gd name="connsiteY95" fmla="*/ 129856 h 182843"/>
              <a:gd name="connsiteX96" fmla="*/ 142257 w 257430"/>
              <a:gd name="connsiteY96" fmla="*/ 138794 h 182843"/>
              <a:gd name="connsiteX97" fmla="*/ 155037 w 257430"/>
              <a:gd name="connsiteY97" fmla="*/ 149647 h 182843"/>
              <a:gd name="connsiteX98" fmla="*/ 158232 w 257430"/>
              <a:gd name="connsiteY98" fmla="*/ 152200 h 182843"/>
              <a:gd name="connsiteX99" fmla="*/ 157593 w 257430"/>
              <a:gd name="connsiteY99" fmla="*/ 152839 h 182843"/>
              <a:gd name="connsiteX100" fmla="*/ 151842 w 257430"/>
              <a:gd name="connsiteY100" fmla="*/ 157946 h 182843"/>
              <a:gd name="connsiteX101" fmla="*/ 145452 w 257430"/>
              <a:gd name="connsiteY101" fmla="*/ 155392 h 182843"/>
              <a:gd name="connsiteX102" fmla="*/ 144174 w 257430"/>
              <a:gd name="connsiteY102" fmla="*/ 154754 h 182843"/>
              <a:gd name="connsiteX103" fmla="*/ 141618 w 257430"/>
              <a:gd name="connsiteY103" fmla="*/ 144539 h 182843"/>
              <a:gd name="connsiteX104" fmla="*/ 140340 w 257430"/>
              <a:gd name="connsiteY104" fmla="*/ 143263 h 182843"/>
              <a:gd name="connsiteX105" fmla="*/ 131394 w 257430"/>
              <a:gd name="connsiteY105" fmla="*/ 137517 h 182843"/>
              <a:gd name="connsiteX106" fmla="*/ 128199 w 257430"/>
              <a:gd name="connsiteY106" fmla="*/ 127941 h 182843"/>
              <a:gd name="connsiteX107" fmla="*/ 127560 w 257430"/>
              <a:gd name="connsiteY107" fmla="*/ 127303 h 182843"/>
              <a:gd name="connsiteX108" fmla="*/ 121170 w 257430"/>
              <a:gd name="connsiteY108" fmla="*/ 122195 h 182843"/>
              <a:gd name="connsiteX109" fmla="*/ 119253 w 257430"/>
              <a:gd name="connsiteY109" fmla="*/ 101128 h 182843"/>
              <a:gd name="connsiteX110" fmla="*/ 92415 w 257430"/>
              <a:gd name="connsiteY110" fmla="*/ 97936 h 182843"/>
              <a:gd name="connsiteX111" fmla="*/ 91776 w 257430"/>
              <a:gd name="connsiteY111" fmla="*/ 98575 h 182843"/>
              <a:gd name="connsiteX112" fmla="*/ 89860 w 257430"/>
              <a:gd name="connsiteY112" fmla="*/ 96021 h 182843"/>
              <a:gd name="connsiteX113" fmla="*/ 62383 w 257430"/>
              <a:gd name="connsiteY113" fmla="*/ 91552 h 182843"/>
              <a:gd name="connsiteX114" fmla="*/ 40657 w 257430"/>
              <a:gd name="connsiteY114" fmla="*/ 105597 h 182843"/>
              <a:gd name="connsiteX115" fmla="*/ 37462 w 257430"/>
              <a:gd name="connsiteY115" fmla="*/ 102405 h 182843"/>
              <a:gd name="connsiteX116" fmla="*/ 8707 w 257430"/>
              <a:gd name="connsiteY116" fmla="*/ 85168 h 182843"/>
              <a:gd name="connsiteX117" fmla="*/ 401 w 257430"/>
              <a:gd name="connsiteY117" fmla="*/ 88999 h 182843"/>
              <a:gd name="connsiteX118" fmla="*/ 4234 w 257430"/>
              <a:gd name="connsiteY118" fmla="*/ 97298 h 182843"/>
              <a:gd name="connsiteX119" fmla="*/ 27877 w 257430"/>
              <a:gd name="connsiteY119" fmla="*/ 110704 h 182843"/>
              <a:gd name="connsiteX120" fmla="*/ 30433 w 257430"/>
              <a:gd name="connsiteY120" fmla="*/ 113258 h 182843"/>
              <a:gd name="connsiteX121" fmla="*/ 26599 w 257430"/>
              <a:gd name="connsiteY121" fmla="*/ 120919 h 182843"/>
              <a:gd name="connsiteX122" fmla="*/ 29155 w 257430"/>
              <a:gd name="connsiteY122" fmla="*/ 134325 h 182843"/>
              <a:gd name="connsiteX123" fmla="*/ 43213 w 257430"/>
              <a:gd name="connsiteY123" fmla="*/ 145178 h 182843"/>
              <a:gd name="connsiteX124" fmla="*/ 46408 w 257430"/>
              <a:gd name="connsiteY124" fmla="*/ 154115 h 182843"/>
              <a:gd name="connsiteX125" fmla="*/ 68134 w 257430"/>
              <a:gd name="connsiteY125" fmla="*/ 164968 h 182843"/>
              <a:gd name="connsiteX126" fmla="*/ 68773 w 257430"/>
              <a:gd name="connsiteY126" fmla="*/ 165607 h 182843"/>
              <a:gd name="connsiteX127" fmla="*/ 93055 w 257430"/>
              <a:gd name="connsiteY127" fmla="*/ 174544 h 182843"/>
              <a:gd name="connsiteX128" fmla="*/ 94971 w 257430"/>
              <a:gd name="connsiteY128" fmla="*/ 174544 h 182843"/>
              <a:gd name="connsiteX129" fmla="*/ 96250 w 257430"/>
              <a:gd name="connsiteY129" fmla="*/ 176459 h 182843"/>
              <a:gd name="connsiteX130" fmla="*/ 112863 w 257430"/>
              <a:gd name="connsiteY130" fmla="*/ 182843 h 182843"/>
              <a:gd name="connsiteX131" fmla="*/ 114780 w 257430"/>
              <a:gd name="connsiteY131" fmla="*/ 182843 h 182843"/>
              <a:gd name="connsiteX132" fmla="*/ 135867 w 257430"/>
              <a:gd name="connsiteY132" fmla="*/ 168160 h 182843"/>
              <a:gd name="connsiteX133" fmla="*/ 136506 w 257430"/>
              <a:gd name="connsiteY133" fmla="*/ 167522 h 182843"/>
              <a:gd name="connsiteX134" fmla="*/ 137784 w 257430"/>
              <a:gd name="connsiteY134" fmla="*/ 166245 h 182843"/>
              <a:gd name="connsiteX135" fmla="*/ 137784 w 257430"/>
              <a:gd name="connsiteY135" fmla="*/ 166245 h 182843"/>
              <a:gd name="connsiteX136" fmla="*/ 149924 w 257430"/>
              <a:gd name="connsiteY136" fmla="*/ 171352 h 182843"/>
              <a:gd name="connsiteX137" fmla="*/ 150564 w 257430"/>
              <a:gd name="connsiteY137" fmla="*/ 171352 h 182843"/>
              <a:gd name="connsiteX138" fmla="*/ 165899 w 257430"/>
              <a:gd name="connsiteY138" fmla="*/ 162415 h 182843"/>
              <a:gd name="connsiteX139" fmla="*/ 167178 w 257430"/>
              <a:gd name="connsiteY139" fmla="*/ 161138 h 182843"/>
              <a:gd name="connsiteX140" fmla="*/ 173568 w 257430"/>
              <a:gd name="connsiteY140" fmla="*/ 163691 h 182843"/>
              <a:gd name="connsiteX141" fmla="*/ 174206 w 257430"/>
              <a:gd name="connsiteY141" fmla="*/ 163691 h 182843"/>
              <a:gd name="connsiteX142" fmla="*/ 186986 w 257430"/>
              <a:gd name="connsiteY142" fmla="*/ 157307 h 182843"/>
              <a:gd name="connsiteX143" fmla="*/ 193376 w 257430"/>
              <a:gd name="connsiteY143" fmla="*/ 149647 h 182843"/>
              <a:gd name="connsiteX144" fmla="*/ 195294 w 257430"/>
              <a:gd name="connsiteY144" fmla="*/ 150285 h 182843"/>
              <a:gd name="connsiteX145" fmla="*/ 195932 w 257430"/>
              <a:gd name="connsiteY145" fmla="*/ 150285 h 182843"/>
              <a:gd name="connsiteX146" fmla="*/ 208712 w 257430"/>
              <a:gd name="connsiteY146" fmla="*/ 143901 h 182843"/>
              <a:gd name="connsiteX147" fmla="*/ 216380 w 257430"/>
              <a:gd name="connsiteY147" fmla="*/ 130495 h 182843"/>
              <a:gd name="connsiteX148" fmla="*/ 216380 w 257430"/>
              <a:gd name="connsiteY148" fmla="*/ 129218 h 182843"/>
              <a:gd name="connsiteX149" fmla="*/ 224687 w 257430"/>
              <a:gd name="connsiteY149" fmla="*/ 124111 h 182843"/>
              <a:gd name="connsiteX150" fmla="*/ 225965 w 257430"/>
              <a:gd name="connsiteY150" fmla="*/ 123472 h 182843"/>
              <a:gd name="connsiteX151" fmla="*/ 232355 w 257430"/>
              <a:gd name="connsiteY151" fmla="*/ 111981 h 182843"/>
              <a:gd name="connsiteX152" fmla="*/ 231077 w 257430"/>
              <a:gd name="connsiteY152" fmla="*/ 105597 h 182843"/>
              <a:gd name="connsiteX153" fmla="*/ 254720 w 257430"/>
              <a:gd name="connsiteY153" fmla="*/ 96021 h 182843"/>
              <a:gd name="connsiteX154" fmla="*/ 256637 w 257430"/>
              <a:gd name="connsiteY154" fmla="*/ 88999 h 182843"/>
              <a:gd name="connsiteX155" fmla="*/ 38101 w 257430"/>
              <a:gd name="connsiteY155" fmla="*/ 127941 h 182843"/>
              <a:gd name="connsiteX156" fmla="*/ 37462 w 257430"/>
              <a:gd name="connsiteY156" fmla="*/ 124111 h 182843"/>
              <a:gd name="connsiteX157" fmla="*/ 38101 w 257430"/>
              <a:gd name="connsiteY157" fmla="*/ 122195 h 182843"/>
              <a:gd name="connsiteX158" fmla="*/ 67495 w 257430"/>
              <a:gd name="connsiteY158" fmla="*/ 103043 h 182843"/>
              <a:gd name="connsiteX159" fmla="*/ 72606 w 257430"/>
              <a:gd name="connsiteY159" fmla="*/ 101128 h 182843"/>
              <a:gd name="connsiteX160" fmla="*/ 78357 w 257430"/>
              <a:gd name="connsiteY160" fmla="*/ 104320 h 182843"/>
              <a:gd name="connsiteX161" fmla="*/ 79635 w 257430"/>
              <a:gd name="connsiteY161" fmla="*/ 106235 h 182843"/>
              <a:gd name="connsiteX162" fmla="*/ 79635 w 257430"/>
              <a:gd name="connsiteY162" fmla="*/ 106235 h 182843"/>
              <a:gd name="connsiteX163" fmla="*/ 48964 w 257430"/>
              <a:gd name="connsiteY163" fmla="*/ 131771 h 182843"/>
              <a:gd name="connsiteX164" fmla="*/ 48964 w 257430"/>
              <a:gd name="connsiteY164" fmla="*/ 131771 h 182843"/>
              <a:gd name="connsiteX165" fmla="*/ 48325 w 257430"/>
              <a:gd name="connsiteY165" fmla="*/ 132410 h 182843"/>
              <a:gd name="connsiteX166" fmla="*/ 38101 w 257430"/>
              <a:gd name="connsiteY166" fmla="*/ 127941 h 182843"/>
              <a:gd name="connsiteX167" fmla="*/ 55354 w 257430"/>
              <a:gd name="connsiteY167" fmla="*/ 147731 h 182843"/>
              <a:gd name="connsiteX168" fmla="*/ 55354 w 257430"/>
              <a:gd name="connsiteY168" fmla="*/ 144539 h 182843"/>
              <a:gd name="connsiteX169" fmla="*/ 55354 w 257430"/>
              <a:gd name="connsiteY169" fmla="*/ 144539 h 182843"/>
              <a:gd name="connsiteX170" fmla="*/ 57910 w 257430"/>
              <a:gd name="connsiteY170" fmla="*/ 142624 h 182843"/>
              <a:gd name="connsiteX171" fmla="*/ 90498 w 257430"/>
              <a:gd name="connsiteY171" fmla="*/ 115811 h 182843"/>
              <a:gd name="connsiteX172" fmla="*/ 91137 w 257430"/>
              <a:gd name="connsiteY172" fmla="*/ 115173 h 182843"/>
              <a:gd name="connsiteX173" fmla="*/ 98805 w 257430"/>
              <a:gd name="connsiteY173" fmla="*/ 110066 h 182843"/>
              <a:gd name="connsiteX174" fmla="*/ 108390 w 257430"/>
              <a:gd name="connsiteY174" fmla="*/ 110704 h 182843"/>
              <a:gd name="connsiteX175" fmla="*/ 107112 w 257430"/>
              <a:gd name="connsiteY175" fmla="*/ 120280 h 182843"/>
              <a:gd name="connsiteX176" fmla="*/ 106473 w 257430"/>
              <a:gd name="connsiteY176" fmla="*/ 120919 h 182843"/>
              <a:gd name="connsiteX177" fmla="*/ 105834 w 257430"/>
              <a:gd name="connsiteY177" fmla="*/ 121557 h 182843"/>
              <a:gd name="connsiteX178" fmla="*/ 68773 w 257430"/>
              <a:gd name="connsiteY178" fmla="*/ 152839 h 182843"/>
              <a:gd name="connsiteX179" fmla="*/ 55354 w 257430"/>
              <a:gd name="connsiteY179" fmla="*/ 147731 h 182843"/>
              <a:gd name="connsiteX180" fmla="*/ 79635 w 257430"/>
              <a:gd name="connsiteY180" fmla="*/ 161138 h 182843"/>
              <a:gd name="connsiteX181" fmla="*/ 111585 w 257430"/>
              <a:gd name="connsiteY181" fmla="*/ 134325 h 182843"/>
              <a:gd name="connsiteX182" fmla="*/ 112224 w 257430"/>
              <a:gd name="connsiteY182" fmla="*/ 134325 h 182843"/>
              <a:gd name="connsiteX183" fmla="*/ 117975 w 257430"/>
              <a:gd name="connsiteY183" fmla="*/ 137517 h 182843"/>
              <a:gd name="connsiteX184" fmla="*/ 117975 w 257430"/>
              <a:gd name="connsiteY184" fmla="*/ 139432 h 182843"/>
              <a:gd name="connsiteX185" fmla="*/ 115419 w 257430"/>
              <a:gd name="connsiteY185" fmla="*/ 143901 h 182843"/>
              <a:gd name="connsiteX186" fmla="*/ 110946 w 257430"/>
              <a:gd name="connsiteY186" fmla="*/ 149008 h 182843"/>
              <a:gd name="connsiteX187" fmla="*/ 103917 w 257430"/>
              <a:gd name="connsiteY187" fmla="*/ 156031 h 182843"/>
              <a:gd name="connsiteX188" fmla="*/ 99445 w 257430"/>
              <a:gd name="connsiteY188" fmla="*/ 159223 h 182843"/>
              <a:gd name="connsiteX189" fmla="*/ 92415 w 257430"/>
              <a:gd name="connsiteY189" fmla="*/ 163691 h 182843"/>
              <a:gd name="connsiteX190" fmla="*/ 79635 w 257430"/>
              <a:gd name="connsiteY190" fmla="*/ 161138 h 182843"/>
              <a:gd name="connsiteX191" fmla="*/ 126282 w 257430"/>
              <a:gd name="connsiteY191" fmla="*/ 161138 h 182843"/>
              <a:gd name="connsiteX192" fmla="*/ 113502 w 257430"/>
              <a:gd name="connsiteY192" fmla="*/ 171991 h 182843"/>
              <a:gd name="connsiteX193" fmla="*/ 105834 w 257430"/>
              <a:gd name="connsiteY193" fmla="*/ 170075 h 182843"/>
              <a:gd name="connsiteX194" fmla="*/ 107112 w 257430"/>
              <a:gd name="connsiteY194" fmla="*/ 168799 h 182843"/>
              <a:gd name="connsiteX195" fmla="*/ 110946 w 257430"/>
              <a:gd name="connsiteY195" fmla="*/ 165607 h 182843"/>
              <a:gd name="connsiteX196" fmla="*/ 112224 w 257430"/>
              <a:gd name="connsiteY196" fmla="*/ 164968 h 182843"/>
              <a:gd name="connsiteX197" fmla="*/ 119892 w 257430"/>
              <a:gd name="connsiteY197" fmla="*/ 157307 h 182843"/>
              <a:gd name="connsiteX198" fmla="*/ 125643 w 257430"/>
              <a:gd name="connsiteY198" fmla="*/ 150923 h 182843"/>
              <a:gd name="connsiteX199" fmla="*/ 130755 w 257430"/>
              <a:gd name="connsiteY199" fmla="*/ 154115 h 182843"/>
              <a:gd name="connsiteX200" fmla="*/ 126282 w 257430"/>
              <a:gd name="connsiteY200" fmla="*/ 161138 h 182843"/>
              <a:gd name="connsiteX201" fmla="*/ 126282 w 257430"/>
              <a:gd name="connsiteY201" fmla="*/ 161138 h 182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Lst>
            <a:rect l="l" t="t" r="r" b="b"/>
            <a:pathLst>
              <a:path w="257430" h="182843">
                <a:moveTo>
                  <a:pt x="256637" y="88999"/>
                </a:moveTo>
                <a:cubicBezTo>
                  <a:pt x="255358" y="85807"/>
                  <a:pt x="251525" y="83892"/>
                  <a:pt x="248330" y="85168"/>
                </a:cubicBezTo>
                <a:lnTo>
                  <a:pt x="221492" y="96021"/>
                </a:lnTo>
                <a:cubicBezTo>
                  <a:pt x="218297" y="92191"/>
                  <a:pt x="215102" y="88360"/>
                  <a:pt x="212546" y="85168"/>
                </a:cubicBezTo>
                <a:cubicBezTo>
                  <a:pt x="209990" y="81976"/>
                  <a:pt x="207434" y="79423"/>
                  <a:pt x="205517" y="76231"/>
                </a:cubicBezTo>
                <a:cubicBezTo>
                  <a:pt x="213185" y="74954"/>
                  <a:pt x="220853" y="73039"/>
                  <a:pt x="225326" y="69847"/>
                </a:cubicBezTo>
                <a:cubicBezTo>
                  <a:pt x="228521" y="67932"/>
                  <a:pt x="229160" y="64101"/>
                  <a:pt x="227243" y="60909"/>
                </a:cubicBezTo>
                <a:cubicBezTo>
                  <a:pt x="225326" y="57717"/>
                  <a:pt x="221492" y="57079"/>
                  <a:pt x="218297" y="58994"/>
                </a:cubicBezTo>
                <a:cubicBezTo>
                  <a:pt x="211907" y="63463"/>
                  <a:pt x="192737" y="64740"/>
                  <a:pt x="188904" y="62186"/>
                </a:cubicBezTo>
                <a:cubicBezTo>
                  <a:pt x="188904" y="62186"/>
                  <a:pt x="188904" y="62186"/>
                  <a:pt x="188904" y="62186"/>
                </a:cubicBezTo>
                <a:cubicBezTo>
                  <a:pt x="188904" y="62186"/>
                  <a:pt x="188264" y="62186"/>
                  <a:pt x="188264" y="62186"/>
                </a:cubicBezTo>
                <a:lnTo>
                  <a:pt x="156314" y="49418"/>
                </a:lnTo>
                <a:cubicBezTo>
                  <a:pt x="156314" y="49418"/>
                  <a:pt x="156314" y="49418"/>
                  <a:pt x="155676" y="49418"/>
                </a:cubicBezTo>
                <a:cubicBezTo>
                  <a:pt x="155676" y="49418"/>
                  <a:pt x="155037" y="49418"/>
                  <a:pt x="155037" y="49418"/>
                </a:cubicBezTo>
                <a:cubicBezTo>
                  <a:pt x="154398" y="49418"/>
                  <a:pt x="153759" y="49418"/>
                  <a:pt x="153119" y="49418"/>
                </a:cubicBezTo>
                <a:cubicBezTo>
                  <a:pt x="153119" y="49418"/>
                  <a:pt x="153119" y="49418"/>
                  <a:pt x="153119" y="49418"/>
                </a:cubicBezTo>
                <a:lnTo>
                  <a:pt x="105834" y="54525"/>
                </a:lnTo>
                <a:cubicBezTo>
                  <a:pt x="105195" y="54525"/>
                  <a:pt x="103917" y="55164"/>
                  <a:pt x="103278" y="55164"/>
                </a:cubicBezTo>
                <a:cubicBezTo>
                  <a:pt x="84109" y="66655"/>
                  <a:pt x="77080" y="62824"/>
                  <a:pt x="73245" y="58356"/>
                </a:cubicBezTo>
                <a:lnTo>
                  <a:pt x="96888" y="37289"/>
                </a:lnTo>
                <a:lnTo>
                  <a:pt x="127560" y="25797"/>
                </a:lnTo>
                <a:cubicBezTo>
                  <a:pt x="133950" y="23244"/>
                  <a:pt x="141618" y="23882"/>
                  <a:pt x="149286" y="25159"/>
                </a:cubicBezTo>
                <a:cubicBezTo>
                  <a:pt x="153119" y="25797"/>
                  <a:pt x="157593" y="25797"/>
                  <a:pt x="161427" y="25797"/>
                </a:cubicBezTo>
                <a:lnTo>
                  <a:pt x="199127" y="25797"/>
                </a:lnTo>
                <a:cubicBezTo>
                  <a:pt x="199127" y="25797"/>
                  <a:pt x="199127" y="25797"/>
                  <a:pt x="199127" y="25797"/>
                </a:cubicBezTo>
                <a:cubicBezTo>
                  <a:pt x="202322" y="25797"/>
                  <a:pt x="205517" y="24521"/>
                  <a:pt x="208073" y="23244"/>
                </a:cubicBezTo>
                <a:lnTo>
                  <a:pt x="228521" y="12391"/>
                </a:lnTo>
                <a:cubicBezTo>
                  <a:pt x="231716" y="10476"/>
                  <a:pt x="232994" y="6646"/>
                  <a:pt x="231077" y="3454"/>
                </a:cubicBezTo>
                <a:cubicBezTo>
                  <a:pt x="229160" y="262"/>
                  <a:pt x="225326" y="-1015"/>
                  <a:pt x="222131" y="900"/>
                </a:cubicBezTo>
                <a:lnTo>
                  <a:pt x="201044" y="11753"/>
                </a:lnTo>
                <a:cubicBezTo>
                  <a:pt x="200405" y="12391"/>
                  <a:pt x="199127" y="12391"/>
                  <a:pt x="198489" y="12391"/>
                </a:cubicBezTo>
                <a:lnTo>
                  <a:pt x="160788" y="12391"/>
                </a:lnTo>
                <a:cubicBezTo>
                  <a:pt x="157593" y="12391"/>
                  <a:pt x="153759" y="11753"/>
                  <a:pt x="149924" y="11753"/>
                </a:cubicBezTo>
                <a:cubicBezTo>
                  <a:pt x="140979" y="11114"/>
                  <a:pt x="131394" y="9838"/>
                  <a:pt x="122448" y="13668"/>
                </a:cubicBezTo>
                <a:lnTo>
                  <a:pt x="121809" y="13668"/>
                </a:lnTo>
                <a:lnTo>
                  <a:pt x="105834" y="8561"/>
                </a:lnTo>
                <a:cubicBezTo>
                  <a:pt x="105195" y="8561"/>
                  <a:pt x="105195" y="8561"/>
                  <a:pt x="104556" y="8561"/>
                </a:cubicBezTo>
                <a:cubicBezTo>
                  <a:pt x="101361" y="7922"/>
                  <a:pt x="98805" y="8561"/>
                  <a:pt x="95610" y="9199"/>
                </a:cubicBezTo>
                <a:lnTo>
                  <a:pt x="64300" y="16221"/>
                </a:lnTo>
                <a:cubicBezTo>
                  <a:pt x="62383" y="16860"/>
                  <a:pt x="59826" y="16860"/>
                  <a:pt x="58549" y="16221"/>
                </a:cubicBezTo>
                <a:lnTo>
                  <a:pt x="40657" y="7922"/>
                </a:lnTo>
                <a:cubicBezTo>
                  <a:pt x="37462" y="6646"/>
                  <a:pt x="33628" y="7922"/>
                  <a:pt x="32350" y="11114"/>
                </a:cubicBezTo>
                <a:cubicBezTo>
                  <a:pt x="31072" y="14306"/>
                  <a:pt x="32350" y="18137"/>
                  <a:pt x="35545" y="19413"/>
                </a:cubicBezTo>
                <a:lnTo>
                  <a:pt x="54075" y="27713"/>
                </a:lnTo>
                <a:cubicBezTo>
                  <a:pt x="56631" y="28351"/>
                  <a:pt x="59188" y="28989"/>
                  <a:pt x="62383" y="28989"/>
                </a:cubicBezTo>
                <a:cubicBezTo>
                  <a:pt x="64300" y="28989"/>
                  <a:pt x="66216" y="28989"/>
                  <a:pt x="67495" y="28351"/>
                </a:cubicBezTo>
                <a:lnTo>
                  <a:pt x="98805" y="21329"/>
                </a:lnTo>
                <a:cubicBezTo>
                  <a:pt x="100083" y="21329"/>
                  <a:pt x="101361" y="20690"/>
                  <a:pt x="102640" y="21329"/>
                </a:cubicBezTo>
                <a:lnTo>
                  <a:pt x="103278" y="21329"/>
                </a:lnTo>
                <a:lnTo>
                  <a:pt x="91137" y="25797"/>
                </a:lnTo>
                <a:cubicBezTo>
                  <a:pt x="90498" y="25797"/>
                  <a:pt x="89860" y="26436"/>
                  <a:pt x="89220" y="27074"/>
                </a:cubicBezTo>
                <a:lnTo>
                  <a:pt x="68134" y="45588"/>
                </a:lnTo>
                <a:lnTo>
                  <a:pt x="61744" y="51333"/>
                </a:lnTo>
                <a:cubicBezTo>
                  <a:pt x="58549" y="54525"/>
                  <a:pt x="57910" y="59632"/>
                  <a:pt x="60465" y="63463"/>
                </a:cubicBezTo>
                <a:cubicBezTo>
                  <a:pt x="63021" y="67293"/>
                  <a:pt x="68773" y="75592"/>
                  <a:pt x="82191" y="75592"/>
                </a:cubicBezTo>
                <a:cubicBezTo>
                  <a:pt x="88581" y="75592"/>
                  <a:pt x="97527" y="73039"/>
                  <a:pt x="108390" y="66655"/>
                </a:cubicBezTo>
                <a:lnTo>
                  <a:pt x="153119" y="62186"/>
                </a:lnTo>
                <a:lnTo>
                  <a:pt x="183791" y="74316"/>
                </a:lnTo>
                <a:cubicBezTo>
                  <a:pt x="188264" y="76231"/>
                  <a:pt x="192099" y="78784"/>
                  <a:pt x="195294" y="82615"/>
                </a:cubicBezTo>
                <a:cubicBezTo>
                  <a:pt x="197849" y="85807"/>
                  <a:pt x="200405" y="88999"/>
                  <a:pt x="203600" y="92829"/>
                </a:cubicBezTo>
                <a:cubicBezTo>
                  <a:pt x="207434" y="97298"/>
                  <a:pt x="211268" y="101767"/>
                  <a:pt x="215102" y="106874"/>
                </a:cubicBezTo>
                <a:cubicBezTo>
                  <a:pt x="215102" y="106874"/>
                  <a:pt x="215102" y="106874"/>
                  <a:pt x="215102" y="106874"/>
                </a:cubicBezTo>
                <a:cubicBezTo>
                  <a:pt x="215102" y="106874"/>
                  <a:pt x="215102" y="106874"/>
                  <a:pt x="215102" y="106874"/>
                </a:cubicBezTo>
                <a:cubicBezTo>
                  <a:pt x="215741" y="107512"/>
                  <a:pt x="216380" y="108151"/>
                  <a:pt x="217019" y="108789"/>
                </a:cubicBezTo>
                <a:cubicBezTo>
                  <a:pt x="217658" y="109427"/>
                  <a:pt x="218936" y="110704"/>
                  <a:pt x="218936" y="111343"/>
                </a:cubicBezTo>
                <a:cubicBezTo>
                  <a:pt x="218936" y="111343"/>
                  <a:pt x="217658" y="112619"/>
                  <a:pt x="217019" y="113258"/>
                </a:cubicBezTo>
                <a:lnTo>
                  <a:pt x="215741" y="113896"/>
                </a:lnTo>
                <a:cubicBezTo>
                  <a:pt x="213185" y="115811"/>
                  <a:pt x="211907" y="116450"/>
                  <a:pt x="211907" y="117088"/>
                </a:cubicBezTo>
                <a:cubicBezTo>
                  <a:pt x="209351" y="115811"/>
                  <a:pt x="203600" y="110704"/>
                  <a:pt x="199766" y="106874"/>
                </a:cubicBezTo>
                <a:cubicBezTo>
                  <a:pt x="195294" y="102405"/>
                  <a:pt x="190181" y="97936"/>
                  <a:pt x="185709" y="94744"/>
                </a:cubicBezTo>
                <a:cubicBezTo>
                  <a:pt x="183153" y="92829"/>
                  <a:pt x="178679" y="93468"/>
                  <a:pt x="176763" y="96021"/>
                </a:cubicBezTo>
                <a:cubicBezTo>
                  <a:pt x="174845" y="98575"/>
                  <a:pt x="175484" y="103043"/>
                  <a:pt x="178040" y="104959"/>
                </a:cubicBezTo>
                <a:cubicBezTo>
                  <a:pt x="182514" y="108151"/>
                  <a:pt x="186986" y="112619"/>
                  <a:pt x="191459" y="116450"/>
                </a:cubicBezTo>
                <a:cubicBezTo>
                  <a:pt x="195294" y="120280"/>
                  <a:pt x="198489" y="123472"/>
                  <a:pt x="201684" y="125387"/>
                </a:cubicBezTo>
                <a:cubicBezTo>
                  <a:pt x="201684" y="125387"/>
                  <a:pt x="201684" y="126026"/>
                  <a:pt x="202322" y="126026"/>
                </a:cubicBezTo>
                <a:cubicBezTo>
                  <a:pt x="203600" y="127303"/>
                  <a:pt x="204239" y="128579"/>
                  <a:pt x="204239" y="129856"/>
                </a:cubicBezTo>
                <a:cubicBezTo>
                  <a:pt x="204239" y="131133"/>
                  <a:pt x="204239" y="131771"/>
                  <a:pt x="201044" y="134325"/>
                </a:cubicBezTo>
                <a:cubicBezTo>
                  <a:pt x="197849" y="136879"/>
                  <a:pt x="197210" y="137517"/>
                  <a:pt x="196571" y="137517"/>
                </a:cubicBezTo>
                <a:cubicBezTo>
                  <a:pt x="195294" y="137517"/>
                  <a:pt x="192737" y="134963"/>
                  <a:pt x="190181" y="133048"/>
                </a:cubicBezTo>
                <a:cubicBezTo>
                  <a:pt x="187625" y="130495"/>
                  <a:pt x="184430" y="127941"/>
                  <a:pt x="180596" y="124749"/>
                </a:cubicBezTo>
                <a:cubicBezTo>
                  <a:pt x="179958" y="124111"/>
                  <a:pt x="179319" y="123472"/>
                  <a:pt x="179319" y="123472"/>
                </a:cubicBezTo>
                <a:cubicBezTo>
                  <a:pt x="175484" y="119642"/>
                  <a:pt x="171012" y="115173"/>
                  <a:pt x="166539" y="111343"/>
                </a:cubicBezTo>
                <a:cubicBezTo>
                  <a:pt x="163983" y="108789"/>
                  <a:pt x="159509" y="109427"/>
                  <a:pt x="157593" y="111981"/>
                </a:cubicBezTo>
                <a:cubicBezTo>
                  <a:pt x="155676" y="114535"/>
                  <a:pt x="155676" y="119003"/>
                  <a:pt x="158232" y="120919"/>
                </a:cubicBezTo>
                <a:cubicBezTo>
                  <a:pt x="162065" y="124111"/>
                  <a:pt x="165899" y="127941"/>
                  <a:pt x="170373" y="131771"/>
                </a:cubicBezTo>
                <a:cubicBezTo>
                  <a:pt x="171012" y="132410"/>
                  <a:pt x="171650" y="133048"/>
                  <a:pt x="172289" y="133687"/>
                </a:cubicBezTo>
                <a:cubicBezTo>
                  <a:pt x="172289" y="133687"/>
                  <a:pt x="172289" y="133687"/>
                  <a:pt x="172289" y="133687"/>
                </a:cubicBezTo>
                <a:cubicBezTo>
                  <a:pt x="172289" y="133687"/>
                  <a:pt x="172289" y="133687"/>
                  <a:pt x="172289" y="133687"/>
                </a:cubicBezTo>
                <a:cubicBezTo>
                  <a:pt x="174845" y="136240"/>
                  <a:pt x="176763" y="138155"/>
                  <a:pt x="179319" y="140709"/>
                </a:cubicBezTo>
                <a:cubicBezTo>
                  <a:pt x="179958" y="141347"/>
                  <a:pt x="180596" y="141986"/>
                  <a:pt x="181235" y="141986"/>
                </a:cubicBezTo>
                <a:cubicBezTo>
                  <a:pt x="181874" y="142624"/>
                  <a:pt x="182514" y="143263"/>
                  <a:pt x="182514" y="142624"/>
                </a:cubicBezTo>
                <a:cubicBezTo>
                  <a:pt x="182514" y="143901"/>
                  <a:pt x="182514" y="144539"/>
                  <a:pt x="179319" y="147093"/>
                </a:cubicBezTo>
                <a:cubicBezTo>
                  <a:pt x="176124" y="149647"/>
                  <a:pt x="175484" y="150285"/>
                  <a:pt x="175484" y="150285"/>
                </a:cubicBezTo>
                <a:cubicBezTo>
                  <a:pt x="173568" y="149647"/>
                  <a:pt x="167817" y="144539"/>
                  <a:pt x="163983" y="140709"/>
                </a:cubicBezTo>
                <a:cubicBezTo>
                  <a:pt x="159509" y="136879"/>
                  <a:pt x="155037" y="132410"/>
                  <a:pt x="149924" y="128579"/>
                </a:cubicBezTo>
                <a:cubicBezTo>
                  <a:pt x="147369" y="126664"/>
                  <a:pt x="142896" y="127303"/>
                  <a:pt x="140979" y="129856"/>
                </a:cubicBezTo>
                <a:cubicBezTo>
                  <a:pt x="139062" y="132410"/>
                  <a:pt x="139701" y="136879"/>
                  <a:pt x="142257" y="138794"/>
                </a:cubicBezTo>
                <a:cubicBezTo>
                  <a:pt x="146729" y="141986"/>
                  <a:pt x="150564" y="145816"/>
                  <a:pt x="155037" y="149647"/>
                </a:cubicBezTo>
                <a:cubicBezTo>
                  <a:pt x="156314" y="150285"/>
                  <a:pt x="156954" y="151562"/>
                  <a:pt x="158232" y="152200"/>
                </a:cubicBezTo>
                <a:cubicBezTo>
                  <a:pt x="158232" y="152200"/>
                  <a:pt x="158232" y="152200"/>
                  <a:pt x="157593" y="152839"/>
                </a:cubicBezTo>
                <a:cubicBezTo>
                  <a:pt x="156314" y="154754"/>
                  <a:pt x="153119" y="157307"/>
                  <a:pt x="151842" y="157946"/>
                </a:cubicBezTo>
                <a:cubicBezTo>
                  <a:pt x="150564" y="157307"/>
                  <a:pt x="146729" y="156031"/>
                  <a:pt x="145452" y="155392"/>
                </a:cubicBezTo>
                <a:cubicBezTo>
                  <a:pt x="144813" y="155392"/>
                  <a:pt x="144813" y="154754"/>
                  <a:pt x="144174" y="154754"/>
                </a:cubicBezTo>
                <a:cubicBezTo>
                  <a:pt x="144813" y="151562"/>
                  <a:pt x="144174" y="147731"/>
                  <a:pt x="141618" y="144539"/>
                </a:cubicBezTo>
                <a:cubicBezTo>
                  <a:pt x="140979" y="143901"/>
                  <a:pt x="140979" y="143901"/>
                  <a:pt x="140340" y="143263"/>
                </a:cubicBezTo>
                <a:cubicBezTo>
                  <a:pt x="137784" y="140709"/>
                  <a:pt x="134589" y="138155"/>
                  <a:pt x="131394" y="137517"/>
                </a:cubicBezTo>
                <a:cubicBezTo>
                  <a:pt x="131394" y="134325"/>
                  <a:pt x="130755" y="131133"/>
                  <a:pt x="128199" y="127941"/>
                </a:cubicBezTo>
                <a:cubicBezTo>
                  <a:pt x="128199" y="127941"/>
                  <a:pt x="127560" y="127303"/>
                  <a:pt x="127560" y="127303"/>
                </a:cubicBezTo>
                <a:cubicBezTo>
                  <a:pt x="125643" y="125387"/>
                  <a:pt x="123087" y="123472"/>
                  <a:pt x="121170" y="122195"/>
                </a:cubicBezTo>
                <a:cubicBezTo>
                  <a:pt x="125004" y="115173"/>
                  <a:pt x="124365" y="107512"/>
                  <a:pt x="119253" y="101128"/>
                </a:cubicBezTo>
                <a:cubicBezTo>
                  <a:pt x="112224" y="92829"/>
                  <a:pt x="101361" y="91552"/>
                  <a:pt x="92415" y="97936"/>
                </a:cubicBezTo>
                <a:lnTo>
                  <a:pt x="91776" y="98575"/>
                </a:lnTo>
                <a:cubicBezTo>
                  <a:pt x="91137" y="97936"/>
                  <a:pt x="90498" y="96660"/>
                  <a:pt x="89860" y="96021"/>
                </a:cubicBezTo>
                <a:cubicBezTo>
                  <a:pt x="84747" y="88999"/>
                  <a:pt x="74524" y="83892"/>
                  <a:pt x="62383" y="91552"/>
                </a:cubicBezTo>
                <a:lnTo>
                  <a:pt x="40657" y="105597"/>
                </a:lnTo>
                <a:cubicBezTo>
                  <a:pt x="39379" y="104320"/>
                  <a:pt x="38101" y="103043"/>
                  <a:pt x="37462" y="102405"/>
                </a:cubicBezTo>
                <a:cubicBezTo>
                  <a:pt x="36823" y="101767"/>
                  <a:pt x="28516" y="92829"/>
                  <a:pt x="8707" y="85168"/>
                </a:cubicBezTo>
                <a:cubicBezTo>
                  <a:pt x="5512" y="83892"/>
                  <a:pt x="1678" y="85807"/>
                  <a:pt x="401" y="88999"/>
                </a:cubicBezTo>
                <a:cubicBezTo>
                  <a:pt x="-878" y="92191"/>
                  <a:pt x="1039" y="96021"/>
                  <a:pt x="4234" y="97298"/>
                </a:cubicBezTo>
                <a:cubicBezTo>
                  <a:pt x="21487" y="103682"/>
                  <a:pt x="27877" y="110704"/>
                  <a:pt x="27877" y="110704"/>
                </a:cubicBezTo>
                <a:cubicBezTo>
                  <a:pt x="28516" y="111343"/>
                  <a:pt x="29155" y="112619"/>
                  <a:pt x="30433" y="113258"/>
                </a:cubicBezTo>
                <a:cubicBezTo>
                  <a:pt x="28516" y="115173"/>
                  <a:pt x="27238" y="117727"/>
                  <a:pt x="26599" y="120919"/>
                </a:cubicBezTo>
                <a:cubicBezTo>
                  <a:pt x="25960" y="126026"/>
                  <a:pt x="26599" y="131133"/>
                  <a:pt x="29155" y="134325"/>
                </a:cubicBezTo>
                <a:cubicBezTo>
                  <a:pt x="33628" y="140071"/>
                  <a:pt x="38740" y="143901"/>
                  <a:pt x="43213" y="145178"/>
                </a:cubicBezTo>
                <a:cubicBezTo>
                  <a:pt x="43213" y="148370"/>
                  <a:pt x="44490" y="150923"/>
                  <a:pt x="46408" y="154115"/>
                </a:cubicBezTo>
                <a:cubicBezTo>
                  <a:pt x="50880" y="160499"/>
                  <a:pt x="59826" y="164968"/>
                  <a:pt x="68134" y="164968"/>
                </a:cubicBezTo>
                <a:cubicBezTo>
                  <a:pt x="68134" y="164968"/>
                  <a:pt x="68134" y="165607"/>
                  <a:pt x="68773" y="165607"/>
                </a:cubicBezTo>
                <a:cubicBezTo>
                  <a:pt x="72606" y="171991"/>
                  <a:pt x="86025" y="174544"/>
                  <a:pt x="93055" y="174544"/>
                </a:cubicBezTo>
                <a:cubicBezTo>
                  <a:pt x="93693" y="174544"/>
                  <a:pt x="94332" y="174544"/>
                  <a:pt x="94971" y="174544"/>
                </a:cubicBezTo>
                <a:cubicBezTo>
                  <a:pt x="95610" y="175183"/>
                  <a:pt x="96250" y="175821"/>
                  <a:pt x="96250" y="176459"/>
                </a:cubicBezTo>
                <a:cubicBezTo>
                  <a:pt x="100083" y="180290"/>
                  <a:pt x="105834" y="182843"/>
                  <a:pt x="112863" y="182843"/>
                </a:cubicBezTo>
                <a:cubicBezTo>
                  <a:pt x="113502" y="182843"/>
                  <a:pt x="114141" y="182843"/>
                  <a:pt x="114780" y="182843"/>
                </a:cubicBezTo>
                <a:cubicBezTo>
                  <a:pt x="120531" y="182205"/>
                  <a:pt x="127560" y="177098"/>
                  <a:pt x="135867" y="168160"/>
                </a:cubicBezTo>
                <a:lnTo>
                  <a:pt x="136506" y="167522"/>
                </a:lnTo>
                <a:cubicBezTo>
                  <a:pt x="137145" y="166883"/>
                  <a:pt x="137145" y="166883"/>
                  <a:pt x="137784" y="166245"/>
                </a:cubicBezTo>
                <a:cubicBezTo>
                  <a:pt x="137784" y="166245"/>
                  <a:pt x="137784" y="166245"/>
                  <a:pt x="137784" y="166245"/>
                </a:cubicBezTo>
                <a:cubicBezTo>
                  <a:pt x="140340" y="168160"/>
                  <a:pt x="147369" y="170714"/>
                  <a:pt x="149924" y="171352"/>
                </a:cubicBezTo>
                <a:cubicBezTo>
                  <a:pt x="149924" y="171352"/>
                  <a:pt x="150564" y="171352"/>
                  <a:pt x="150564" y="171352"/>
                </a:cubicBezTo>
                <a:cubicBezTo>
                  <a:pt x="156954" y="171352"/>
                  <a:pt x="161427" y="166245"/>
                  <a:pt x="165899" y="162415"/>
                </a:cubicBezTo>
                <a:cubicBezTo>
                  <a:pt x="165899" y="161776"/>
                  <a:pt x="166539" y="161776"/>
                  <a:pt x="167178" y="161138"/>
                </a:cubicBezTo>
                <a:cubicBezTo>
                  <a:pt x="169734" y="162415"/>
                  <a:pt x="171650" y="163053"/>
                  <a:pt x="173568" y="163691"/>
                </a:cubicBezTo>
                <a:cubicBezTo>
                  <a:pt x="173568" y="163691"/>
                  <a:pt x="174206" y="163691"/>
                  <a:pt x="174206" y="163691"/>
                </a:cubicBezTo>
                <a:cubicBezTo>
                  <a:pt x="179319" y="163691"/>
                  <a:pt x="183153" y="160499"/>
                  <a:pt x="186986" y="157307"/>
                </a:cubicBezTo>
                <a:cubicBezTo>
                  <a:pt x="189542" y="155392"/>
                  <a:pt x="191459" y="152839"/>
                  <a:pt x="193376" y="149647"/>
                </a:cubicBezTo>
                <a:cubicBezTo>
                  <a:pt x="194015" y="149647"/>
                  <a:pt x="194654" y="150285"/>
                  <a:pt x="195294" y="150285"/>
                </a:cubicBezTo>
                <a:cubicBezTo>
                  <a:pt x="195294" y="150285"/>
                  <a:pt x="195932" y="150285"/>
                  <a:pt x="195932" y="150285"/>
                </a:cubicBezTo>
                <a:cubicBezTo>
                  <a:pt x="201044" y="150285"/>
                  <a:pt x="204879" y="147093"/>
                  <a:pt x="208712" y="143901"/>
                </a:cubicBezTo>
                <a:cubicBezTo>
                  <a:pt x="211907" y="140709"/>
                  <a:pt x="215741" y="136879"/>
                  <a:pt x="216380" y="130495"/>
                </a:cubicBezTo>
                <a:cubicBezTo>
                  <a:pt x="216380" y="129856"/>
                  <a:pt x="216380" y="129856"/>
                  <a:pt x="216380" y="129218"/>
                </a:cubicBezTo>
                <a:cubicBezTo>
                  <a:pt x="219575" y="127941"/>
                  <a:pt x="222131" y="126026"/>
                  <a:pt x="224687" y="124111"/>
                </a:cubicBezTo>
                <a:lnTo>
                  <a:pt x="225965" y="123472"/>
                </a:lnTo>
                <a:cubicBezTo>
                  <a:pt x="229160" y="120919"/>
                  <a:pt x="232355" y="118365"/>
                  <a:pt x="232355" y="111981"/>
                </a:cubicBezTo>
                <a:cubicBezTo>
                  <a:pt x="232355" y="109427"/>
                  <a:pt x="231716" y="107512"/>
                  <a:pt x="231077" y="105597"/>
                </a:cubicBezTo>
                <a:lnTo>
                  <a:pt x="254720" y="96021"/>
                </a:lnTo>
                <a:cubicBezTo>
                  <a:pt x="256637" y="96021"/>
                  <a:pt x="258553" y="92191"/>
                  <a:pt x="256637" y="88999"/>
                </a:cubicBezTo>
                <a:close/>
                <a:moveTo>
                  <a:pt x="38101" y="127941"/>
                </a:moveTo>
                <a:cubicBezTo>
                  <a:pt x="37462" y="127303"/>
                  <a:pt x="37462" y="126026"/>
                  <a:pt x="37462" y="124111"/>
                </a:cubicBezTo>
                <a:cubicBezTo>
                  <a:pt x="37462" y="122834"/>
                  <a:pt x="38101" y="122195"/>
                  <a:pt x="38101" y="122195"/>
                </a:cubicBezTo>
                <a:lnTo>
                  <a:pt x="67495" y="103043"/>
                </a:lnTo>
                <a:cubicBezTo>
                  <a:pt x="68134" y="102405"/>
                  <a:pt x="70050" y="101128"/>
                  <a:pt x="72606" y="101128"/>
                </a:cubicBezTo>
                <a:cubicBezTo>
                  <a:pt x="74524" y="101128"/>
                  <a:pt x="76440" y="101767"/>
                  <a:pt x="78357" y="104320"/>
                </a:cubicBezTo>
                <a:cubicBezTo>
                  <a:pt x="78996" y="104959"/>
                  <a:pt x="79635" y="105597"/>
                  <a:pt x="79635" y="106235"/>
                </a:cubicBezTo>
                <a:cubicBezTo>
                  <a:pt x="79635" y="106235"/>
                  <a:pt x="79635" y="106235"/>
                  <a:pt x="79635" y="106235"/>
                </a:cubicBezTo>
                <a:lnTo>
                  <a:pt x="48964" y="131771"/>
                </a:lnTo>
                <a:cubicBezTo>
                  <a:pt x="48964" y="131771"/>
                  <a:pt x="48964" y="131771"/>
                  <a:pt x="48964" y="131771"/>
                </a:cubicBezTo>
                <a:cubicBezTo>
                  <a:pt x="48964" y="131771"/>
                  <a:pt x="48325" y="131771"/>
                  <a:pt x="48325" y="132410"/>
                </a:cubicBezTo>
                <a:cubicBezTo>
                  <a:pt x="47047" y="134325"/>
                  <a:pt x="42574" y="134325"/>
                  <a:pt x="38101" y="127941"/>
                </a:cubicBezTo>
                <a:close/>
                <a:moveTo>
                  <a:pt x="55354" y="147731"/>
                </a:moveTo>
                <a:cubicBezTo>
                  <a:pt x="54075" y="145816"/>
                  <a:pt x="54715" y="145178"/>
                  <a:pt x="55354" y="144539"/>
                </a:cubicBezTo>
                <a:cubicBezTo>
                  <a:pt x="55354" y="144539"/>
                  <a:pt x="55354" y="144539"/>
                  <a:pt x="55354" y="144539"/>
                </a:cubicBezTo>
                <a:cubicBezTo>
                  <a:pt x="56631" y="143901"/>
                  <a:pt x="57270" y="143263"/>
                  <a:pt x="57910" y="142624"/>
                </a:cubicBezTo>
                <a:lnTo>
                  <a:pt x="90498" y="115811"/>
                </a:lnTo>
                <a:cubicBezTo>
                  <a:pt x="90498" y="115811"/>
                  <a:pt x="90498" y="115811"/>
                  <a:pt x="91137" y="115173"/>
                </a:cubicBezTo>
                <a:lnTo>
                  <a:pt x="98805" y="110066"/>
                </a:lnTo>
                <a:cubicBezTo>
                  <a:pt x="100722" y="108789"/>
                  <a:pt x="105195" y="106235"/>
                  <a:pt x="108390" y="110704"/>
                </a:cubicBezTo>
                <a:cubicBezTo>
                  <a:pt x="111585" y="114535"/>
                  <a:pt x="109668" y="118365"/>
                  <a:pt x="107112" y="120280"/>
                </a:cubicBezTo>
                <a:cubicBezTo>
                  <a:pt x="106473" y="120280"/>
                  <a:pt x="106473" y="120919"/>
                  <a:pt x="106473" y="120919"/>
                </a:cubicBezTo>
                <a:cubicBezTo>
                  <a:pt x="106473" y="120919"/>
                  <a:pt x="106473" y="120919"/>
                  <a:pt x="105834" y="121557"/>
                </a:cubicBezTo>
                <a:lnTo>
                  <a:pt x="68773" y="152839"/>
                </a:lnTo>
                <a:cubicBezTo>
                  <a:pt x="63660" y="154115"/>
                  <a:pt x="57910" y="150923"/>
                  <a:pt x="55354" y="147731"/>
                </a:cubicBezTo>
                <a:close/>
                <a:moveTo>
                  <a:pt x="79635" y="161138"/>
                </a:moveTo>
                <a:lnTo>
                  <a:pt x="111585" y="134325"/>
                </a:lnTo>
                <a:cubicBezTo>
                  <a:pt x="111585" y="134325"/>
                  <a:pt x="111585" y="134325"/>
                  <a:pt x="112224" y="134325"/>
                </a:cubicBezTo>
                <a:cubicBezTo>
                  <a:pt x="113502" y="134325"/>
                  <a:pt x="115419" y="134963"/>
                  <a:pt x="117975" y="137517"/>
                </a:cubicBezTo>
                <a:cubicBezTo>
                  <a:pt x="118614" y="138155"/>
                  <a:pt x="117975" y="138794"/>
                  <a:pt x="117975" y="139432"/>
                </a:cubicBezTo>
                <a:cubicBezTo>
                  <a:pt x="116697" y="140709"/>
                  <a:pt x="115419" y="141986"/>
                  <a:pt x="115419" y="143901"/>
                </a:cubicBezTo>
                <a:cubicBezTo>
                  <a:pt x="114141" y="145816"/>
                  <a:pt x="112224" y="147731"/>
                  <a:pt x="110946" y="149008"/>
                </a:cubicBezTo>
                <a:lnTo>
                  <a:pt x="103917" y="156031"/>
                </a:lnTo>
                <a:cubicBezTo>
                  <a:pt x="102640" y="156669"/>
                  <a:pt x="101361" y="157946"/>
                  <a:pt x="99445" y="159223"/>
                </a:cubicBezTo>
                <a:cubicBezTo>
                  <a:pt x="97527" y="161138"/>
                  <a:pt x="93693" y="163691"/>
                  <a:pt x="92415" y="163691"/>
                </a:cubicBezTo>
                <a:cubicBezTo>
                  <a:pt x="89860" y="163691"/>
                  <a:pt x="82830" y="162415"/>
                  <a:pt x="79635" y="161138"/>
                </a:cubicBezTo>
                <a:close/>
                <a:moveTo>
                  <a:pt x="126282" y="161138"/>
                </a:moveTo>
                <a:cubicBezTo>
                  <a:pt x="117336" y="170075"/>
                  <a:pt x="114141" y="171352"/>
                  <a:pt x="113502" y="171991"/>
                </a:cubicBezTo>
                <a:cubicBezTo>
                  <a:pt x="110307" y="171991"/>
                  <a:pt x="107751" y="171352"/>
                  <a:pt x="105834" y="170075"/>
                </a:cubicBezTo>
                <a:cubicBezTo>
                  <a:pt x="106473" y="169437"/>
                  <a:pt x="107112" y="169437"/>
                  <a:pt x="107112" y="168799"/>
                </a:cubicBezTo>
                <a:cubicBezTo>
                  <a:pt x="108390" y="167522"/>
                  <a:pt x="109668" y="166883"/>
                  <a:pt x="110946" y="165607"/>
                </a:cubicBezTo>
                <a:cubicBezTo>
                  <a:pt x="110946" y="165607"/>
                  <a:pt x="111585" y="164968"/>
                  <a:pt x="112224" y="164968"/>
                </a:cubicBezTo>
                <a:lnTo>
                  <a:pt x="119892" y="157307"/>
                </a:lnTo>
                <a:cubicBezTo>
                  <a:pt x="121170" y="156031"/>
                  <a:pt x="123726" y="153477"/>
                  <a:pt x="125643" y="150923"/>
                </a:cubicBezTo>
                <a:cubicBezTo>
                  <a:pt x="126921" y="151562"/>
                  <a:pt x="128838" y="152200"/>
                  <a:pt x="130755" y="154115"/>
                </a:cubicBezTo>
                <a:cubicBezTo>
                  <a:pt x="131394" y="155392"/>
                  <a:pt x="128199" y="159223"/>
                  <a:pt x="126282" y="161138"/>
                </a:cubicBezTo>
                <a:lnTo>
                  <a:pt x="126282" y="161138"/>
                </a:lnTo>
                <a:close/>
              </a:path>
            </a:pathLst>
          </a:custGeom>
          <a:solidFill>
            <a:srgbClr val="012169"/>
          </a:solidFill>
          <a:ln w="6390" cap="flat">
            <a:noFill/>
            <a:prstDash val="solid"/>
            <a:miter/>
          </a:ln>
        </p:spPr>
        <p:txBody>
          <a:bodyPr rtlCol="0" anchor="ctr"/>
          <a:lstStyle/>
          <a:p>
            <a:endParaRPr lang="en-US"/>
          </a:p>
        </p:txBody>
      </p:sp>
    </p:spTree>
    <p:extLst>
      <p:ext uri="{BB962C8B-B14F-4D97-AF65-F5344CB8AC3E}">
        <p14:creationId xmlns:p14="http://schemas.microsoft.com/office/powerpoint/2010/main" val="57234570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4">
            <a:extLst>
              <a:ext uri="{FF2B5EF4-FFF2-40B4-BE49-F238E27FC236}">
                <a16:creationId xmlns:a16="http://schemas.microsoft.com/office/drawing/2014/main" id="{3DDB4CB5-8819-45C0-A96C-4C33FE209691}"/>
              </a:ext>
            </a:extLst>
          </p:cNvPr>
          <p:cNvSpPr txBox="1">
            <a:spLocks/>
          </p:cNvSpPr>
          <p:nvPr/>
        </p:nvSpPr>
        <p:spPr bwMode="gray">
          <a:xfrm>
            <a:off x="189752" y="367433"/>
            <a:ext cx="1601423" cy="357235"/>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Light" panose="020F0302020204030204"/>
                <a:ea typeface="Verdana"/>
                <a:cs typeface="+mj-cs"/>
              </a:rPr>
              <a:t>What is the NCSR?</a:t>
            </a:r>
          </a:p>
        </p:txBody>
      </p:sp>
      <p:sp>
        <p:nvSpPr>
          <p:cNvPr id="28" name="Rectangle 27">
            <a:extLst>
              <a:ext uri="{FF2B5EF4-FFF2-40B4-BE49-F238E27FC236}">
                <a16:creationId xmlns:a16="http://schemas.microsoft.com/office/drawing/2014/main" id="{AA111707-6944-46F5-80D6-25657B12EC56}"/>
              </a:ext>
            </a:extLst>
          </p:cNvPr>
          <p:cNvSpPr>
            <a:spLocks/>
          </p:cNvSpPr>
          <p:nvPr/>
        </p:nvSpPr>
        <p:spPr>
          <a:xfrm>
            <a:off x="9160857" y="1844987"/>
            <a:ext cx="2415503" cy="3959509"/>
          </a:xfrm>
          <a:prstGeom prst="rect">
            <a:avLst/>
          </a:prstGeom>
          <a:noFill/>
          <a:ln w="28575" cap="flat">
            <a:solidFill>
              <a:srgbClr val="00206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Open Sans"/>
              <a:cs typeface="Open Sans"/>
              <a:sym typeface="Open Sans"/>
            </a:endParaRPr>
          </a:p>
        </p:txBody>
      </p:sp>
      <p:sp>
        <p:nvSpPr>
          <p:cNvPr id="29" name="Rectangle 28">
            <a:extLst>
              <a:ext uri="{FF2B5EF4-FFF2-40B4-BE49-F238E27FC236}">
                <a16:creationId xmlns:a16="http://schemas.microsoft.com/office/drawing/2014/main" id="{1F0D8870-BF38-41CF-A012-FF0CAD5BCB21}"/>
              </a:ext>
            </a:extLst>
          </p:cNvPr>
          <p:cNvSpPr>
            <a:spLocks noChangeAspect="1"/>
          </p:cNvSpPr>
          <p:nvPr/>
        </p:nvSpPr>
        <p:spPr>
          <a:xfrm>
            <a:off x="9160857" y="1554624"/>
            <a:ext cx="2415503" cy="431450"/>
          </a:xfrm>
          <a:prstGeom prst="rect">
            <a:avLst/>
          </a:prstGeom>
          <a:solidFill>
            <a:srgbClr val="002060"/>
          </a:solidFill>
          <a:ln w="28575">
            <a:solidFill>
              <a:srgbClr val="002060"/>
            </a:solidFill>
          </a:ln>
          <a:effectLst/>
        </p:spPr>
        <p:style>
          <a:lnRef idx="0">
            <a:schemeClr val="accent3"/>
          </a:lnRef>
          <a:fillRef idx="3">
            <a:schemeClr val="accent3"/>
          </a:fillRef>
          <a:effectRef idx="3">
            <a:schemeClr val="accent3"/>
          </a:effectRef>
          <a:fontRef idx="minor">
            <a:schemeClr val="lt1"/>
          </a:fontRef>
        </p:style>
        <p:txBody>
          <a:bodyPr lIns="18288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Open Sans Extrabold" charset="0"/>
                <a:cs typeface="Open Sans Extrabold" charset="0"/>
              </a:rPr>
              <a:t>Getting </a:t>
            </a:r>
            <a:br>
              <a:rPr kumimoji="0" lang="en-US" sz="1200" b="1" i="0" u="none" strike="noStrike" kern="1200" cap="none" spc="0" normalizeH="0" baseline="0" noProof="0">
                <a:ln>
                  <a:noFill/>
                </a:ln>
                <a:solidFill>
                  <a:prstClr val="white"/>
                </a:solidFill>
                <a:effectLst/>
                <a:uLnTx/>
                <a:uFillTx/>
                <a:latin typeface="Calibri" panose="020F0502020204030204"/>
                <a:ea typeface="Open Sans Extrabold" charset="0"/>
                <a:cs typeface="Open Sans Extrabold" charset="0"/>
              </a:rPr>
            </a:br>
            <a:r>
              <a:rPr kumimoji="0" lang="en-US" sz="1200" b="1" i="0" u="none" strike="noStrike" kern="1200" cap="none" spc="0" normalizeH="0" baseline="0" noProof="0">
                <a:ln>
                  <a:noFill/>
                </a:ln>
                <a:solidFill>
                  <a:prstClr val="white"/>
                </a:solidFill>
                <a:effectLst/>
                <a:uLnTx/>
                <a:uFillTx/>
                <a:latin typeface="Calibri" panose="020F0502020204030204"/>
                <a:ea typeface="Open Sans Extrabold" charset="0"/>
                <a:cs typeface="Open Sans Extrabold" charset="0"/>
              </a:rPr>
              <a:t>Started</a:t>
            </a:r>
          </a:p>
        </p:txBody>
      </p:sp>
      <p:sp>
        <p:nvSpPr>
          <p:cNvPr id="64" name="Oval 63">
            <a:extLst>
              <a:ext uri="{FF2B5EF4-FFF2-40B4-BE49-F238E27FC236}">
                <a16:creationId xmlns:a16="http://schemas.microsoft.com/office/drawing/2014/main" id="{150B6CA0-206E-47A2-AA04-32EA2A6C2128}"/>
              </a:ext>
            </a:extLst>
          </p:cNvPr>
          <p:cNvSpPr/>
          <p:nvPr/>
        </p:nvSpPr>
        <p:spPr>
          <a:xfrm>
            <a:off x="8867775" y="1447800"/>
            <a:ext cx="654880" cy="645097"/>
          </a:xfrm>
          <a:prstGeom prst="ellipse">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n-ea"/>
              <a:cs typeface="+mn-cs"/>
            </a:endParaRPr>
          </a:p>
        </p:txBody>
      </p:sp>
      <p:sp>
        <p:nvSpPr>
          <p:cNvPr id="65" name="Freeform 11">
            <a:extLst>
              <a:ext uri="{FF2B5EF4-FFF2-40B4-BE49-F238E27FC236}">
                <a16:creationId xmlns:a16="http://schemas.microsoft.com/office/drawing/2014/main" id="{6F02E494-9709-45C0-AC66-5F994A885DA8}"/>
              </a:ext>
            </a:extLst>
          </p:cNvPr>
          <p:cNvSpPr>
            <a:spLocks noEditPoints="1"/>
          </p:cNvSpPr>
          <p:nvPr/>
        </p:nvSpPr>
        <p:spPr bwMode="auto">
          <a:xfrm>
            <a:off x="8893970" y="1474679"/>
            <a:ext cx="602489" cy="591339"/>
          </a:xfrm>
          <a:custGeom>
            <a:avLst/>
            <a:gdLst>
              <a:gd name="T0" fmla="*/ 312 w 658"/>
              <a:gd name="T1" fmla="*/ 658 h 658"/>
              <a:gd name="T2" fmla="*/ 262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6 h 658"/>
              <a:gd name="T24" fmla="*/ 172 w 658"/>
              <a:gd name="T25" fmla="*/ 40 h 658"/>
              <a:gd name="T26" fmla="*/ 247 w 658"/>
              <a:gd name="T27" fmla="*/ 10 h 658"/>
              <a:gd name="T28" fmla="*/ 296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2 w 658"/>
              <a:gd name="T41" fmla="*/ 201 h 658"/>
              <a:gd name="T42" fmla="*/ 652 w 658"/>
              <a:gd name="T43" fmla="*/ 263 h 658"/>
              <a:gd name="T44" fmla="*/ 657 w 658"/>
              <a:gd name="T45" fmla="*/ 313 h 658"/>
              <a:gd name="T46" fmla="*/ 657 w 658"/>
              <a:gd name="T47" fmla="*/ 346 h 658"/>
              <a:gd name="T48" fmla="*/ 652 w 658"/>
              <a:gd name="T49" fmla="*/ 396 h 658"/>
              <a:gd name="T50" fmla="*/ 632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7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7 w 658"/>
              <a:gd name="T81" fmla="*/ 571 h 658"/>
              <a:gd name="T82" fmla="*/ 242 w 658"/>
              <a:gd name="T83" fmla="*/ 607 h 658"/>
              <a:gd name="T84" fmla="*/ 329 w 658"/>
              <a:gd name="T85" fmla="*/ 621 h 658"/>
              <a:gd name="T86" fmla="*/ 387 w 658"/>
              <a:gd name="T87" fmla="*/ 615 h 658"/>
              <a:gd name="T88" fmla="*/ 468 w 658"/>
              <a:gd name="T89" fmla="*/ 586 h 658"/>
              <a:gd name="T90" fmla="*/ 535 w 658"/>
              <a:gd name="T91" fmla="*/ 535 h 658"/>
              <a:gd name="T92" fmla="*/ 585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2" y="652"/>
                </a:lnTo>
                <a:lnTo>
                  <a:pt x="247" y="648"/>
                </a:lnTo>
                <a:lnTo>
                  <a:pt x="231" y="644"/>
                </a:lnTo>
                <a:lnTo>
                  <a:pt x="202" y="633"/>
                </a:lnTo>
                <a:lnTo>
                  <a:pt x="172" y="618"/>
                </a:lnTo>
                <a:lnTo>
                  <a:pt x="145" y="602"/>
                </a:lnTo>
                <a:lnTo>
                  <a:pt x="120" y="583"/>
                </a:lnTo>
                <a:lnTo>
                  <a:pt x="97" y="562"/>
                </a:lnTo>
                <a:lnTo>
                  <a:pt x="75" y="539"/>
                </a:lnTo>
                <a:lnTo>
                  <a:pt x="56" y="513"/>
                </a:lnTo>
                <a:lnTo>
                  <a:pt x="40" y="486"/>
                </a:lnTo>
                <a:lnTo>
                  <a:pt x="25" y="457"/>
                </a:lnTo>
                <a:lnTo>
                  <a:pt x="15" y="427"/>
                </a:lnTo>
                <a:lnTo>
                  <a:pt x="11" y="411"/>
                </a:lnTo>
                <a:lnTo>
                  <a:pt x="7" y="396"/>
                </a:lnTo>
                <a:lnTo>
                  <a:pt x="4" y="379"/>
                </a:lnTo>
                <a:lnTo>
                  <a:pt x="1" y="363"/>
                </a:lnTo>
                <a:lnTo>
                  <a:pt x="0" y="346"/>
                </a:lnTo>
                <a:lnTo>
                  <a:pt x="0" y="329"/>
                </a:lnTo>
                <a:lnTo>
                  <a:pt x="0" y="329"/>
                </a:lnTo>
                <a:lnTo>
                  <a:pt x="0" y="313"/>
                </a:lnTo>
                <a:lnTo>
                  <a:pt x="1" y="295"/>
                </a:lnTo>
                <a:lnTo>
                  <a:pt x="4" y="279"/>
                </a:lnTo>
                <a:lnTo>
                  <a:pt x="7" y="263"/>
                </a:lnTo>
                <a:lnTo>
                  <a:pt x="11" y="247"/>
                </a:lnTo>
                <a:lnTo>
                  <a:pt x="15" y="232"/>
                </a:lnTo>
                <a:lnTo>
                  <a:pt x="25" y="201"/>
                </a:lnTo>
                <a:lnTo>
                  <a:pt x="40" y="173"/>
                </a:lnTo>
                <a:lnTo>
                  <a:pt x="56" y="145"/>
                </a:lnTo>
                <a:lnTo>
                  <a:pt x="75" y="121"/>
                </a:lnTo>
                <a:lnTo>
                  <a:pt x="97" y="96"/>
                </a:lnTo>
                <a:lnTo>
                  <a:pt x="120" y="75"/>
                </a:lnTo>
                <a:lnTo>
                  <a:pt x="145" y="56"/>
                </a:lnTo>
                <a:lnTo>
                  <a:pt x="172" y="40"/>
                </a:lnTo>
                <a:lnTo>
                  <a:pt x="202" y="27"/>
                </a:lnTo>
                <a:lnTo>
                  <a:pt x="231" y="16"/>
                </a:lnTo>
                <a:lnTo>
                  <a:pt x="247" y="10"/>
                </a:lnTo>
                <a:lnTo>
                  <a:pt x="262" y="6"/>
                </a:lnTo>
                <a:lnTo>
                  <a:pt x="279" y="4"/>
                </a:lnTo>
                <a:lnTo>
                  <a:pt x="296" y="2"/>
                </a:lnTo>
                <a:lnTo>
                  <a:pt x="312" y="1"/>
                </a:lnTo>
                <a:lnTo>
                  <a:pt x="329" y="0"/>
                </a:lnTo>
                <a:lnTo>
                  <a:pt x="329" y="0"/>
                </a:lnTo>
                <a:lnTo>
                  <a:pt x="345" y="1"/>
                </a:lnTo>
                <a:lnTo>
                  <a:pt x="363" y="2"/>
                </a:lnTo>
                <a:lnTo>
                  <a:pt x="379" y="4"/>
                </a:lnTo>
                <a:lnTo>
                  <a:pt x="395" y="6"/>
                </a:lnTo>
                <a:lnTo>
                  <a:pt x="411" y="10"/>
                </a:lnTo>
                <a:lnTo>
                  <a:pt x="426" y="16"/>
                </a:lnTo>
                <a:lnTo>
                  <a:pt x="457" y="27"/>
                </a:lnTo>
                <a:lnTo>
                  <a:pt x="485" y="40"/>
                </a:lnTo>
                <a:lnTo>
                  <a:pt x="513" y="56"/>
                </a:lnTo>
                <a:lnTo>
                  <a:pt x="538" y="75"/>
                </a:lnTo>
                <a:lnTo>
                  <a:pt x="562" y="96"/>
                </a:lnTo>
                <a:lnTo>
                  <a:pt x="583" y="121"/>
                </a:lnTo>
                <a:lnTo>
                  <a:pt x="602" y="145"/>
                </a:lnTo>
                <a:lnTo>
                  <a:pt x="618" y="173"/>
                </a:lnTo>
                <a:lnTo>
                  <a:pt x="632" y="201"/>
                </a:lnTo>
                <a:lnTo>
                  <a:pt x="644" y="232"/>
                </a:lnTo>
                <a:lnTo>
                  <a:pt x="648" y="247"/>
                </a:lnTo>
                <a:lnTo>
                  <a:pt x="652" y="263"/>
                </a:lnTo>
                <a:lnTo>
                  <a:pt x="654" y="279"/>
                </a:lnTo>
                <a:lnTo>
                  <a:pt x="656" y="295"/>
                </a:lnTo>
                <a:lnTo>
                  <a:pt x="657" y="313"/>
                </a:lnTo>
                <a:lnTo>
                  <a:pt x="658" y="329"/>
                </a:lnTo>
                <a:lnTo>
                  <a:pt x="658" y="329"/>
                </a:lnTo>
                <a:lnTo>
                  <a:pt x="657" y="346"/>
                </a:lnTo>
                <a:lnTo>
                  <a:pt x="656" y="363"/>
                </a:lnTo>
                <a:lnTo>
                  <a:pt x="654" y="379"/>
                </a:lnTo>
                <a:lnTo>
                  <a:pt x="652" y="396"/>
                </a:lnTo>
                <a:lnTo>
                  <a:pt x="648" y="411"/>
                </a:lnTo>
                <a:lnTo>
                  <a:pt x="644" y="427"/>
                </a:lnTo>
                <a:lnTo>
                  <a:pt x="632" y="457"/>
                </a:lnTo>
                <a:lnTo>
                  <a:pt x="618" y="486"/>
                </a:lnTo>
                <a:lnTo>
                  <a:pt x="602" y="513"/>
                </a:lnTo>
                <a:lnTo>
                  <a:pt x="583" y="539"/>
                </a:lnTo>
                <a:lnTo>
                  <a:pt x="562" y="562"/>
                </a:lnTo>
                <a:lnTo>
                  <a:pt x="538" y="583"/>
                </a:lnTo>
                <a:lnTo>
                  <a:pt x="513"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300" y="40"/>
                </a:lnTo>
                <a:lnTo>
                  <a:pt x="270" y="44"/>
                </a:lnTo>
                <a:lnTo>
                  <a:pt x="242" y="51"/>
                </a:lnTo>
                <a:lnTo>
                  <a:pt x="215" y="62"/>
                </a:lnTo>
                <a:lnTo>
                  <a:pt x="191" y="74"/>
                </a:lnTo>
                <a:lnTo>
                  <a:pt x="167" y="88"/>
                </a:lnTo>
                <a:lnTo>
                  <a:pt x="144" y="105"/>
                </a:lnTo>
                <a:lnTo>
                  <a:pt x="124" y="123"/>
                </a:lnTo>
                <a:lnTo>
                  <a:pt x="105" y="144"/>
                </a:lnTo>
                <a:lnTo>
                  <a:pt x="87" y="166"/>
                </a:lnTo>
                <a:lnTo>
                  <a:pt x="73" y="191"/>
                </a:lnTo>
                <a:lnTo>
                  <a:pt x="60" y="216"/>
                </a:lnTo>
                <a:lnTo>
                  <a:pt x="51" y="243"/>
                </a:lnTo>
                <a:lnTo>
                  <a:pt x="43" y="271"/>
                </a:lnTo>
                <a:lnTo>
                  <a:pt x="39" y="299"/>
                </a:lnTo>
                <a:lnTo>
                  <a:pt x="38" y="329"/>
                </a:lnTo>
                <a:lnTo>
                  <a:pt x="38" y="329"/>
                </a:lnTo>
                <a:lnTo>
                  <a:pt x="39" y="359"/>
                </a:lnTo>
                <a:lnTo>
                  <a:pt x="43" y="388"/>
                </a:lnTo>
                <a:lnTo>
                  <a:pt x="51" y="416"/>
                </a:lnTo>
                <a:lnTo>
                  <a:pt x="60" y="443"/>
                </a:lnTo>
                <a:lnTo>
                  <a:pt x="73" y="467"/>
                </a:lnTo>
                <a:lnTo>
                  <a:pt x="87"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7" y="416"/>
                </a:lnTo>
                <a:lnTo>
                  <a:pt x="614" y="388"/>
                </a:lnTo>
                <a:lnTo>
                  <a:pt x="618" y="359"/>
                </a:lnTo>
                <a:lnTo>
                  <a:pt x="621" y="329"/>
                </a:lnTo>
                <a:lnTo>
                  <a:pt x="621" y="329"/>
                </a:lnTo>
                <a:lnTo>
                  <a:pt x="618" y="299"/>
                </a:lnTo>
                <a:lnTo>
                  <a:pt x="614" y="271"/>
                </a:lnTo>
                <a:lnTo>
                  <a:pt x="607" y="243"/>
                </a:lnTo>
                <a:lnTo>
                  <a:pt x="597" y="216"/>
                </a:lnTo>
                <a:lnTo>
                  <a:pt x="585" y="191"/>
                </a:lnTo>
                <a:lnTo>
                  <a:pt x="570" y="166"/>
                </a:lnTo>
                <a:lnTo>
                  <a:pt x="554" y="144"/>
                </a:lnTo>
                <a:lnTo>
                  <a:pt x="535" y="123"/>
                </a:lnTo>
                <a:lnTo>
                  <a:pt x="515" y="105"/>
                </a:lnTo>
                <a:lnTo>
                  <a:pt x="492" y="88"/>
                </a:lnTo>
                <a:lnTo>
                  <a:pt x="468" y="74"/>
                </a:lnTo>
                <a:lnTo>
                  <a:pt x="442" y="62"/>
                </a:lnTo>
                <a:lnTo>
                  <a:pt x="415" y="51"/>
                </a:lnTo>
                <a:lnTo>
                  <a:pt x="387" y="44"/>
                </a:lnTo>
                <a:lnTo>
                  <a:pt x="359" y="40"/>
                </a:lnTo>
                <a:lnTo>
                  <a:pt x="329" y="37"/>
                </a:lnTo>
                <a:lnTo>
                  <a:pt x="329" y="37"/>
                </a:lnTo>
                <a:close/>
              </a:path>
            </a:pathLst>
          </a:custGeom>
          <a:solidFill>
            <a:srgbClr val="364C7D"/>
          </a:solidFill>
          <a:ln>
            <a:solidFill>
              <a:schemeClr val="accent1">
                <a:lumMod val="50000"/>
              </a:schemeClr>
            </a:solid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n-ea"/>
              <a:cs typeface="+mn-cs"/>
            </a:endParaRPr>
          </a:p>
        </p:txBody>
      </p:sp>
      <p:sp>
        <p:nvSpPr>
          <p:cNvPr id="69" name="TextBox 68">
            <a:extLst>
              <a:ext uri="{FF2B5EF4-FFF2-40B4-BE49-F238E27FC236}">
                <a16:creationId xmlns:a16="http://schemas.microsoft.com/office/drawing/2014/main" id="{CEAFD51B-BB45-47EA-92D9-BE8984AA6797}"/>
              </a:ext>
            </a:extLst>
          </p:cNvPr>
          <p:cNvSpPr txBox="1"/>
          <p:nvPr/>
        </p:nvSpPr>
        <p:spPr>
          <a:xfrm>
            <a:off x="9223162" y="2186188"/>
            <a:ext cx="2290892" cy="3271793"/>
          </a:xfrm>
          <a:prstGeom prst="rect">
            <a:avLst/>
          </a:prstGeom>
          <a:noFill/>
        </p:spPr>
        <p:txBody>
          <a:bodyPr vert="horz" wrap="square" lIns="0" tIns="0" rIns="0" bIns="0" rtlCol="0">
            <a:spAutoFit/>
          </a:bodyPr>
          <a:lstStyle/>
          <a:p>
            <a:pPr marL="0" marR="0" lvl="1" indent="0" algn="l" defTabSz="914400" rtl="0" eaLnBrk="1" fontAlgn="auto" latinLnBrk="0" hangingPunct="1">
              <a:lnSpc>
                <a:spcPct val="100000"/>
              </a:lnSpc>
              <a:spcBef>
                <a:spcPts val="600"/>
              </a:spcBef>
              <a:spcAft>
                <a:spcPts val="60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Verdana"/>
                <a:cs typeface="+mn-cs"/>
              </a:rPr>
              <a:t>Are you interested in participating or have questions? </a:t>
            </a:r>
            <a:r>
              <a:rPr kumimoji="0" lang="en-US" sz="1200" b="1" i="0" u="none" strike="noStrike" kern="1200" cap="none" spc="0" normalizeH="0" baseline="0" noProof="0" dirty="0">
                <a:ln>
                  <a:noFill/>
                </a:ln>
                <a:solidFill>
                  <a:prstClr val="black"/>
                </a:solidFill>
                <a:effectLst/>
                <a:uLnTx/>
                <a:uFillTx/>
                <a:latin typeface="Calibri" panose="020F0502020204030204"/>
                <a:ea typeface="Verdana"/>
                <a:cs typeface="+mn-cs"/>
              </a:rPr>
              <a:t>Contact our team at </a:t>
            </a:r>
            <a:r>
              <a:rPr kumimoji="0" lang="en-US" sz="1200" b="1" i="0" u="none" strike="noStrike" kern="1200" cap="none" spc="0" normalizeH="0" baseline="0" noProof="0" dirty="0">
                <a:ln>
                  <a:noFill/>
                </a:ln>
                <a:solidFill>
                  <a:prstClr val="black"/>
                </a:solidFill>
                <a:effectLst/>
                <a:uLnTx/>
                <a:uFillTx/>
                <a:latin typeface="Calibri" panose="020F0502020204030204"/>
                <a:ea typeface="Verdana"/>
                <a:cs typeface="+mn-cs"/>
                <a:hlinkClick r:id="rId3"/>
              </a:rPr>
              <a:t>NCSR@tn.gov</a:t>
            </a:r>
            <a:endParaRPr kumimoji="0" lang="en-US" sz="1100" b="1" i="0" u="none" strike="noStrike" kern="1200" cap="none" spc="0" normalizeH="0" baseline="0" noProof="0" dirty="0">
              <a:ln>
                <a:noFill/>
              </a:ln>
              <a:solidFill>
                <a:prstClr val="black">
                  <a:lumMod val="75000"/>
                  <a:lumOff val="25000"/>
                </a:prstClr>
              </a:solidFill>
              <a:effectLst/>
              <a:uLnTx/>
              <a:uFillTx/>
              <a:latin typeface="Calibri" panose="020F0502020204030204"/>
              <a:ea typeface="Verdana"/>
              <a:cs typeface="+mn-cs"/>
            </a:endParaRPr>
          </a:p>
          <a:p>
            <a:pPr marL="0" marR="0" lvl="1" indent="0" algn="l" defTabSz="914400" rtl="0" eaLnBrk="1" fontAlgn="auto" latinLnBrk="0" hangingPunct="1">
              <a:lnSpc>
                <a:spcPct val="120000"/>
              </a:lnSpc>
              <a:spcBef>
                <a:spcPts val="300"/>
              </a:spcBef>
              <a:spcAft>
                <a:spcPts val="80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TS will provide guidance to your organization through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webinars, check-ins, working sessions</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nd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office hours.</a:t>
            </a:r>
          </a:p>
          <a:p>
            <a:pPr marL="0" marR="0" lvl="1" indent="0" algn="l" defTabSz="914400" rtl="0" eaLnBrk="1" fontAlgn="auto" latinLnBrk="0" hangingPunct="1">
              <a:lnSpc>
                <a:spcPct val="120000"/>
              </a:lnSpc>
              <a:spcBef>
                <a:spcPts val="600"/>
              </a:spcBef>
              <a:spcAft>
                <a:spcPts val="60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Registration in the no-cost,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MS-ISAC® Multi-State Information Sharing &amp; Analysis Center®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s highly encouraged to help your organization stay up-to-date on the latest cybersecurity news.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4"/>
              </a:rPr>
              <a:t>www.cisecurity.org/ms-isac</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13" name="Group 112">
            <a:extLst>
              <a:ext uri="{FF2B5EF4-FFF2-40B4-BE49-F238E27FC236}">
                <a16:creationId xmlns:a16="http://schemas.microsoft.com/office/drawing/2014/main" id="{0AFF2603-A6CC-4CAA-B3C4-B248BB816569}"/>
              </a:ext>
            </a:extLst>
          </p:cNvPr>
          <p:cNvGrpSpPr/>
          <p:nvPr/>
        </p:nvGrpSpPr>
        <p:grpSpPr>
          <a:xfrm>
            <a:off x="9059802" y="1635891"/>
            <a:ext cx="284930" cy="268917"/>
            <a:chOff x="5880100" y="6940550"/>
            <a:chExt cx="606425" cy="581025"/>
          </a:xfrm>
        </p:grpSpPr>
        <p:sp>
          <p:nvSpPr>
            <p:cNvPr id="114" name="Freeform 280">
              <a:extLst>
                <a:ext uri="{FF2B5EF4-FFF2-40B4-BE49-F238E27FC236}">
                  <a16:creationId xmlns:a16="http://schemas.microsoft.com/office/drawing/2014/main" id="{23134548-606D-4737-9F1C-2D95D6281DCC}"/>
                </a:ext>
              </a:extLst>
            </p:cNvPr>
            <p:cNvSpPr>
              <a:spLocks noEditPoints="1"/>
            </p:cNvSpPr>
            <p:nvPr/>
          </p:nvSpPr>
          <p:spPr bwMode="auto">
            <a:xfrm>
              <a:off x="5880100" y="6940550"/>
              <a:ext cx="606425" cy="581025"/>
            </a:xfrm>
            <a:custGeom>
              <a:avLst/>
              <a:gdLst>
                <a:gd name="T0" fmla="*/ 236 w 241"/>
                <a:gd name="T1" fmla="*/ 56 h 230"/>
                <a:gd name="T2" fmla="*/ 218 w 241"/>
                <a:gd name="T3" fmla="*/ 56 h 230"/>
                <a:gd name="T4" fmla="*/ 218 w 241"/>
                <a:gd name="T5" fmla="*/ 28 h 230"/>
                <a:gd name="T6" fmla="*/ 213 w 241"/>
                <a:gd name="T7" fmla="*/ 23 h 230"/>
                <a:gd name="T8" fmla="*/ 184 w 241"/>
                <a:gd name="T9" fmla="*/ 23 h 230"/>
                <a:gd name="T10" fmla="*/ 184 w 241"/>
                <a:gd name="T11" fmla="*/ 18 h 230"/>
                <a:gd name="T12" fmla="*/ 180 w 241"/>
                <a:gd name="T13" fmla="*/ 13 h 230"/>
                <a:gd name="T14" fmla="*/ 35 w 241"/>
                <a:gd name="T15" fmla="*/ 0 h 230"/>
                <a:gd name="T16" fmla="*/ 31 w 241"/>
                <a:gd name="T17" fmla="*/ 2 h 230"/>
                <a:gd name="T18" fmla="*/ 30 w 241"/>
                <a:gd name="T19" fmla="*/ 5 h 230"/>
                <a:gd name="T20" fmla="*/ 28 w 241"/>
                <a:gd name="T21" fmla="*/ 23 h 230"/>
                <a:gd name="T22" fmla="*/ 5 w 241"/>
                <a:gd name="T23" fmla="*/ 23 h 230"/>
                <a:gd name="T24" fmla="*/ 0 w 241"/>
                <a:gd name="T25" fmla="*/ 28 h 230"/>
                <a:gd name="T26" fmla="*/ 0 w 241"/>
                <a:gd name="T27" fmla="*/ 189 h 230"/>
                <a:gd name="T28" fmla="*/ 5 w 241"/>
                <a:gd name="T29" fmla="*/ 193 h 230"/>
                <a:gd name="T30" fmla="*/ 14 w 241"/>
                <a:gd name="T31" fmla="*/ 193 h 230"/>
                <a:gd name="T32" fmla="*/ 12 w 241"/>
                <a:gd name="T33" fmla="*/ 213 h 230"/>
                <a:gd name="T34" fmla="*/ 17 w 241"/>
                <a:gd name="T35" fmla="*/ 218 h 230"/>
                <a:gd name="T36" fmla="*/ 162 w 241"/>
                <a:gd name="T37" fmla="*/ 230 h 230"/>
                <a:gd name="T38" fmla="*/ 162 w 241"/>
                <a:gd name="T39" fmla="*/ 230 h 230"/>
                <a:gd name="T40" fmla="*/ 165 w 241"/>
                <a:gd name="T41" fmla="*/ 229 h 230"/>
                <a:gd name="T42" fmla="*/ 167 w 241"/>
                <a:gd name="T43" fmla="*/ 226 h 230"/>
                <a:gd name="T44" fmla="*/ 168 w 241"/>
                <a:gd name="T45" fmla="*/ 218 h 230"/>
                <a:gd name="T46" fmla="*/ 236 w 241"/>
                <a:gd name="T47" fmla="*/ 219 h 230"/>
                <a:gd name="T48" fmla="*/ 236 w 241"/>
                <a:gd name="T49" fmla="*/ 219 h 230"/>
                <a:gd name="T50" fmla="*/ 239 w 241"/>
                <a:gd name="T51" fmla="*/ 217 h 230"/>
                <a:gd name="T52" fmla="*/ 241 w 241"/>
                <a:gd name="T53" fmla="*/ 214 h 230"/>
                <a:gd name="T54" fmla="*/ 241 w 241"/>
                <a:gd name="T55" fmla="*/ 61 h 230"/>
                <a:gd name="T56" fmla="*/ 236 w 241"/>
                <a:gd name="T57" fmla="*/ 56 h 230"/>
                <a:gd name="T58" fmla="*/ 39 w 241"/>
                <a:gd name="T59" fmla="*/ 11 h 230"/>
                <a:gd name="T60" fmla="*/ 174 w 241"/>
                <a:gd name="T61" fmla="*/ 22 h 230"/>
                <a:gd name="T62" fmla="*/ 174 w 241"/>
                <a:gd name="T63" fmla="*/ 23 h 230"/>
                <a:gd name="T64" fmla="*/ 38 w 241"/>
                <a:gd name="T65" fmla="*/ 23 h 230"/>
                <a:gd name="T66" fmla="*/ 39 w 241"/>
                <a:gd name="T67" fmla="*/ 11 h 230"/>
                <a:gd name="T68" fmla="*/ 10 w 241"/>
                <a:gd name="T69" fmla="*/ 33 h 230"/>
                <a:gd name="T70" fmla="*/ 208 w 241"/>
                <a:gd name="T71" fmla="*/ 33 h 230"/>
                <a:gd name="T72" fmla="*/ 208 w 241"/>
                <a:gd name="T73" fmla="*/ 184 h 230"/>
                <a:gd name="T74" fmla="*/ 10 w 241"/>
                <a:gd name="T75" fmla="*/ 184 h 230"/>
                <a:gd name="T76" fmla="*/ 10 w 241"/>
                <a:gd name="T77" fmla="*/ 33 h 230"/>
                <a:gd name="T78" fmla="*/ 22 w 241"/>
                <a:gd name="T79" fmla="*/ 209 h 230"/>
                <a:gd name="T80" fmla="*/ 24 w 241"/>
                <a:gd name="T81" fmla="*/ 193 h 230"/>
                <a:gd name="T82" fmla="*/ 160 w 241"/>
                <a:gd name="T83" fmla="*/ 193 h 230"/>
                <a:gd name="T84" fmla="*/ 158 w 241"/>
                <a:gd name="T85" fmla="*/ 220 h 230"/>
                <a:gd name="T86" fmla="*/ 22 w 241"/>
                <a:gd name="T87" fmla="*/ 209 h 230"/>
                <a:gd name="T88" fmla="*/ 231 w 241"/>
                <a:gd name="T89" fmla="*/ 209 h 230"/>
                <a:gd name="T90" fmla="*/ 168 w 241"/>
                <a:gd name="T91" fmla="*/ 209 h 230"/>
                <a:gd name="T92" fmla="*/ 170 w 241"/>
                <a:gd name="T93" fmla="*/ 193 h 230"/>
                <a:gd name="T94" fmla="*/ 213 w 241"/>
                <a:gd name="T95" fmla="*/ 193 h 230"/>
                <a:gd name="T96" fmla="*/ 218 w 241"/>
                <a:gd name="T97" fmla="*/ 189 h 230"/>
                <a:gd name="T98" fmla="*/ 218 w 241"/>
                <a:gd name="T99" fmla="*/ 66 h 230"/>
                <a:gd name="T100" fmla="*/ 231 w 241"/>
                <a:gd name="T101" fmla="*/ 66 h 230"/>
                <a:gd name="T102" fmla="*/ 231 w 241"/>
                <a:gd name="T103" fmla="*/ 20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1" h="230">
                  <a:moveTo>
                    <a:pt x="236" y="56"/>
                  </a:moveTo>
                  <a:cubicBezTo>
                    <a:pt x="218" y="56"/>
                    <a:pt x="218" y="56"/>
                    <a:pt x="218" y="56"/>
                  </a:cubicBezTo>
                  <a:cubicBezTo>
                    <a:pt x="218" y="28"/>
                    <a:pt x="218" y="28"/>
                    <a:pt x="218" y="28"/>
                  </a:cubicBezTo>
                  <a:cubicBezTo>
                    <a:pt x="218" y="25"/>
                    <a:pt x="216" y="23"/>
                    <a:pt x="213" y="23"/>
                  </a:cubicBezTo>
                  <a:cubicBezTo>
                    <a:pt x="184" y="23"/>
                    <a:pt x="184" y="23"/>
                    <a:pt x="184" y="23"/>
                  </a:cubicBezTo>
                  <a:cubicBezTo>
                    <a:pt x="184" y="18"/>
                    <a:pt x="184" y="18"/>
                    <a:pt x="184" y="18"/>
                  </a:cubicBezTo>
                  <a:cubicBezTo>
                    <a:pt x="185" y="15"/>
                    <a:pt x="183" y="13"/>
                    <a:pt x="180" y="13"/>
                  </a:cubicBezTo>
                  <a:cubicBezTo>
                    <a:pt x="35" y="0"/>
                    <a:pt x="35" y="0"/>
                    <a:pt x="35" y="0"/>
                  </a:cubicBezTo>
                  <a:cubicBezTo>
                    <a:pt x="34" y="0"/>
                    <a:pt x="32" y="1"/>
                    <a:pt x="31" y="2"/>
                  </a:cubicBezTo>
                  <a:cubicBezTo>
                    <a:pt x="30" y="2"/>
                    <a:pt x="30" y="4"/>
                    <a:pt x="30" y="5"/>
                  </a:cubicBezTo>
                  <a:cubicBezTo>
                    <a:pt x="28" y="23"/>
                    <a:pt x="28" y="23"/>
                    <a:pt x="28" y="23"/>
                  </a:cubicBezTo>
                  <a:cubicBezTo>
                    <a:pt x="5" y="23"/>
                    <a:pt x="5" y="23"/>
                    <a:pt x="5" y="23"/>
                  </a:cubicBezTo>
                  <a:cubicBezTo>
                    <a:pt x="2" y="23"/>
                    <a:pt x="0" y="25"/>
                    <a:pt x="0" y="28"/>
                  </a:cubicBezTo>
                  <a:cubicBezTo>
                    <a:pt x="0" y="189"/>
                    <a:pt x="0" y="189"/>
                    <a:pt x="0" y="189"/>
                  </a:cubicBezTo>
                  <a:cubicBezTo>
                    <a:pt x="0" y="191"/>
                    <a:pt x="2" y="193"/>
                    <a:pt x="5" y="193"/>
                  </a:cubicBezTo>
                  <a:cubicBezTo>
                    <a:pt x="14" y="193"/>
                    <a:pt x="14" y="193"/>
                    <a:pt x="14" y="193"/>
                  </a:cubicBezTo>
                  <a:cubicBezTo>
                    <a:pt x="12" y="213"/>
                    <a:pt x="12" y="213"/>
                    <a:pt x="12" y="213"/>
                  </a:cubicBezTo>
                  <a:cubicBezTo>
                    <a:pt x="12" y="216"/>
                    <a:pt x="14" y="218"/>
                    <a:pt x="17" y="218"/>
                  </a:cubicBezTo>
                  <a:cubicBezTo>
                    <a:pt x="162" y="230"/>
                    <a:pt x="162" y="230"/>
                    <a:pt x="162" y="230"/>
                  </a:cubicBezTo>
                  <a:cubicBezTo>
                    <a:pt x="162" y="230"/>
                    <a:pt x="162" y="230"/>
                    <a:pt x="162" y="230"/>
                  </a:cubicBezTo>
                  <a:cubicBezTo>
                    <a:pt x="163" y="230"/>
                    <a:pt x="164" y="230"/>
                    <a:pt x="165" y="229"/>
                  </a:cubicBezTo>
                  <a:cubicBezTo>
                    <a:pt x="166" y="228"/>
                    <a:pt x="167" y="227"/>
                    <a:pt x="167" y="226"/>
                  </a:cubicBezTo>
                  <a:cubicBezTo>
                    <a:pt x="168" y="218"/>
                    <a:pt x="168" y="218"/>
                    <a:pt x="168" y="218"/>
                  </a:cubicBezTo>
                  <a:cubicBezTo>
                    <a:pt x="236" y="219"/>
                    <a:pt x="236" y="219"/>
                    <a:pt x="236" y="219"/>
                  </a:cubicBezTo>
                  <a:cubicBezTo>
                    <a:pt x="236" y="219"/>
                    <a:pt x="236" y="219"/>
                    <a:pt x="236" y="219"/>
                  </a:cubicBezTo>
                  <a:cubicBezTo>
                    <a:pt x="237" y="219"/>
                    <a:pt x="238" y="218"/>
                    <a:pt x="239" y="217"/>
                  </a:cubicBezTo>
                  <a:cubicBezTo>
                    <a:pt x="240" y="216"/>
                    <a:pt x="241" y="215"/>
                    <a:pt x="241" y="214"/>
                  </a:cubicBezTo>
                  <a:cubicBezTo>
                    <a:pt x="241" y="61"/>
                    <a:pt x="241" y="61"/>
                    <a:pt x="241" y="61"/>
                  </a:cubicBezTo>
                  <a:cubicBezTo>
                    <a:pt x="241" y="58"/>
                    <a:pt x="239" y="56"/>
                    <a:pt x="236" y="56"/>
                  </a:cubicBezTo>
                  <a:close/>
                  <a:moveTo>
                    <a:pt x="39" y="11"/>
                  </a:moveTo>
                  <a:cubicBezTo>
                    <a:pt x="174" y="22"/>
                    <a:pt x="174" y="22"/>
                    <a:pt x="174" y="22"/>
                  </a:cubicBezTo>
                  <a:cubicBezTo>
                    <a:pt x="174" y="23"/>
                    <a:pt x="174" y="23"/>
                    <a:pt x="174" y="23"/>
                  </a:cubicBezTo>
                  <a:cubicBezTo>
                    <a:pt x="38" y="23"/>
                    <a:pt x="38" y="23"/>
                    <a:pt x="38" y="23"/>
                  </a:cubicBezTo>
                  <a:lnTo>
                    <a:pt x="39" y="11"/>
                  </a:lnTo>
                  <a:close/>
                  <a:moveTo>
                    <a:pt x="10" y="33"/>
                  </a:moveTo>
                  <a:cubicBezTo>
                    <a:pt x="208" y="33"/>
                    <a:pt x="208" y="33"/>
                    <a:pt x="208" y="33"/>
                  </a:cubicBezTo>
                  <a:cubicBezTo>
                    <a:pt x="208" y="184"/>
                    <a:pt x="208" y="184"/>
                    <a:pt x="208" y="184"/>
                  </a:cubicBezTo>
                  <a:cubicBezTo>
                    <a:pt x="10" y="184"/>
                    <a:pt x="10" y="184"/>
                    <a:pt x="10" y="184"/>
                  </a:cubicBezTo>
                  <a:lnTo>
                    <a:pt x="10" y="33"/>
                  </a:lnTo>
                  <a:close/>
                  <a:moveTo>
                    <a:pt x="22" y="209"/>
                  </a:moveTo>
                  <a:cubicBezTo>
                    <a:pt x="24" y="193"/>
                    <a:pt x="24" y="193"/>
                    <a:pt x="24" y="193"/>
                  </a:cubicBezTo>
                  <a:cubicBezTo>
                    <a:pt x="160" y="193"/>
                    <a:pt x="160" y="193"/>
                    <a:pt x="160" y="193"/>
                  </a:cubicBezTo>
                  <a:cubicBezTo>
                    <a:pt x="158" y="220"/>
                    <a:pt x="158" y="220"/>
                    <a:pt x="158" y="220"/>
                  </a:cubicBezTo>
                  <a:lnTo>
                    <a:pt x="22" y="209"/>
                  </a:lnTo>
                  <a:close/>
                  <a:moveTo>
                    <a:pt x="231" y="209"/>
                  </a:moveTo>
                  <a:cubicBezTo>
                    <a:pt x="168" y="209"/>
                    <a:pt x="168" y="209"/>
                    <a:pt x="168" y="209"/>
                  </a:cubicBezTo>
                  <a:cubicBezTo>
                    <a:pt x="170" y="193"/>
                    <a:pt x="170" y="193"/>
                    <a:pt x="170" y="193"/>
                  </a:cubicBezTo>
                  <a:cubicBezTo>
                    <a:pt x="213" y="193"/>
                    <a:pt x="213" y="193"/>
                    <a:pt x="213" y="193"/>
                  </a:cubicBezTo>
                  <a:cubicBezTo>
                    <a:pt x="216" y="193"/>
                    <a:pt x="218" y="191"/>
                    <a:pt x="218" y="189"/>
                  </a:cubicBezTo>
                  <a:cubicBezTo>
                    <a:pt x="218" y="66"/>
                    <a:pt x="218" y="66"/>
                    <a:pt x="218" y="66"/>
                  </a:cubicBezTo>
                  <a:cubicBezTo>
                    <a:pt x="231" y="66"/>
                    <a:pt x="231" y="66"/>
                    <a:pt x="231" y="66"/>
                  </a:cubicBezTo>
                  <a:lnTo>
                    <a:pt x="231" y="209"/>
                  </a:lnTo>
                  <a:close/>
                </a:path>
              </a:pathLst>
            </a:custGeom>
            <a:solidFill>
              <a:srgbClr val="231F20"/>
            </a:solidFill>
            <a:ln>
              <a:solidFill>
                <a:schemeClr val="accent1">
                  <a:lumMod val="50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Freeform 281">
              <a:extLst>
                <a:ext uri="{FF2B5EF4-FFF2-40B4-BE49-F238E27FC236}">
                  <a16:creationId xmlns:a16="http://schemas.microsoft.com/office/drawing/2014/main" id="{54174EE5-4B09-49CF-9FF1-BD7F61361DCB}"/>
                </a:ext>
              </a:extLst>
            </p:cNvPr>
            <p:cNvSpPr>
              <a:spLocks noEditPoints="1"/>
            </p:cNvSpPr>
            <p:nvPr/>
          </p:nvSpPr>
          <p:spPr bwMode="auto">
            <a:xfrm>
              <a:off x="5943600" y="7119938"/>
              <a:ext cx="228600" cy="222250"/>
            </a:xfrm>
            <a:custGeom>
              <a:avLst/>
              <a:gdLst>
                <a:gd name="T0" fmla="*/ 80 w 91"/>
                <a:gd name="T1" fmla="*/ 23 h 88"/>
                <a:gd name="T2" fmla="*/ 56 w 91"/>
                <a:gd name="T3" fmla="*/ 33 h 88"/>
                <a:gd name="T4" fmla="*/ 59 w 91"/>
                <a:gd name="T5" fmla="*/ 9 h 88"/>
                <a:gd name="T6" fmla="*/ 57 w 91"/>
                <a:gd name="T7" fmla="*/ 3 h 88"/>
                <a:gd name="T8" fmla="*/ 52 w 91"/>
                <a:gd name="T9" fmla="*/ 0 h 88"/>
                <a:gd name="T10" fmla="*/ 47 w 91"/>
                <a:gd name="T11" fmla="*/ 0 h 88"/>
                <a:gd name="T12" fmla="*/ 3 w 91"/>
                <a:gd name="T13" fmla="*/ 39 h 88"/>
                <a:gd name="T14" fmla="*/ 41 w 91"/>
                <a:gd name="T15" fmla="*/ 88 h 88"/>
                <a:gd name="T16" fmla="*/ 47 w 91"/>
                <a:gd name="T17" fmla="*/ 88 h 88"/>
                <a:gd name="T18" fmla="*/ 91 w 91"/>
                <a:gd name="T19" fmla="*/ 50 h 88"/>
                <a:gd name="T20" fmla="*/ 88 w 91"/>
                <a:gd name="T21" fmla="*/ 28 h 88"/>
                <a:gd name="T22" fmla="*/ 80 w 91"/>
                <a:gd name="T23" fmla="*/ 23 h 88"/>
                <a:gd name="T24" fmla="*/ 81 w 91"/>
                <a:gd name="T25" fmla="*/ 48 h 88"/>
                <a:gd name="T26" fmla="*/ 47 w 91"/>
                <a:gd name="T27" fmla="*/ 79 h 88"/>
                <a:gd name="T28" fmla="*/ 43 w 91"/>
                <a:gd name="T29" fmla="*/ 78 h 88"/>
                <a:gd name="T30" fmla="*/ 13 w 91"/>
                <a:gd name="T31" fmla="*/ 40 h 88"/>
                <a:gd name="T32" fmla="*/ 47 w 91"/>
                <a:gd name="T33" fmla="*/ 10 h 88"/>
                <a:gd name="T34" fmla="*/ 49 w 91"/>
                <a:gd name="T35" fmla="*/ 10 h 88"/>
                <a:gd name="T36" fmla="*/ 45 w 91"/>
                <a:gd name="T37" fmla="*/ 40 h 88"/>
                <a:gd name="T38" fmla="*/ 47 w 91"/>
                <a:gd name="T39" fmla="*/ 44 h 88"/>
                <a:gd name="T40" fmla="*/ 52 w 91"/>
                <a:gd name="T41" fmla="*/ 45 h 88"/>
                <a:gd name="T42" fmla="*/ 79 w 91"/>
                <a:gd name="T43" fmla="*/ 33 h 88"/>
                <a:gd name="T44" fmla="*/ 81 w 91"/>
                <a:gd name="T45" fmla="*/ 4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1" h="88">
                  <a:moveTo>
                    <a:pt x="80" y="23"/>
                  </a:moveTo>
                  <a:cubicBezTo>
                    <a:pt x="79" y="23"/>
                    <a:pt x="78" y="23"/>
                    <a:pt x="56" y="33"/>
                  </a:cubicBezTo>
                  <a:cubicBezTo>
                    <a:pt x="59" y="9"/>
                    <a:pt x="59" y="9"/>
                    <a:pt x="59" y="9"/>
                  </a:cubicBezTo>
                  <a:cubicBezTo>
                    <a:pt x="59" y="7"/>
                    <a:pt x="59" y="5"/>
                    <a:pt x="57" y="3"/>
                  </a:cubicBezTo>
                  <a:cubicBezTo>
                    <a:pt x="56" y="2"/>
                    <a:pt x="54" y="1"/>
                    <a:pt x="52" y="0"/>
                  </a:cubicBezTo>
                  <a:cubicBezTo>
                    <a:pt x="50" y="0"/>
                    <a:pt x="48" y="0"/>
                    <a:pt x="47" y="0"/>
                  </a:cubicBezTo>
                  <a:cubicBezTo>
                    <a:pt x="24" y="0"/>
                    <a:pt x="6" y="17"/>
                    <a:pt x="3" y="39"/>
                  </a:cubicBezTo>
                  <a:cubicBezTo>
                    <a:pt x="0" y="63"/>
                    <a:pt x="17" y="85"/>
                    <a:pt x="41" y="88"/>
                  </a:cubicBezTo>
                  <a:cubicBezTo>
                    <a:pt x="43" y="88"/>
                    <a:pt x="45" y="88"/>
                    <a:pt x="47" y="88"/>
                  </a:cubicBezTo>
                  <a:cubicBezTo>
                    <a:pt x="69" y="88"/>
                    <a:pt x="88" y="72"/>
                    <a:pt x="91" y="50"/>
                  </a:cubicBezTo>
                  <a:cubicBezTo>
                    <a:pt x="91" y="42"/>
                    <a:pt x="90" y="35"/>
                    <a:pt x="88" y="28"/>
                  </a:cubicBezTo>
                  <a:cubicBezTo>
                    <a:pt x="86" y="25"/>
                    <a:pt x="84" y="23"/>
                    <a:pt x="80" y="23"/>
                  </a:cubicBezTo>
                  <a:close/>
                  <a:moveTo>
                    <a:pt x="81" y="48"/>
                  </a:moveTo>
                  <a:cubicBezTo>
                    <a:pt x="79" y="66"/>
                    <a:pt x="64" y="79"/>
                    <a:pt x="47" y="79"/>
                  </a:cubicBezTo>
                  <a:cubicBezTo>
                    <a:pt x="45" y="79"/>
                    <a:pt x="44" y="79"/>
                    <a:pt x="43" y="78"/>
                  </a:cubicBezTo>
                  <a:cubicBezTo>
                    <a:pt x="24" y="76"/>
                    <a:pt x="10" y="59"/>
                    <a:pt x="13" y="40"/>
                  </a:cubicBezTo>
                  <a:cubicBezTo>
                    <a:pt x="15" y="23"/>
                    <a:pt x="29" y="10"/>
                    <a:pt x="47" y="10"/>
                  </a:cubicBezTo>
                  <a:cubicBezTo>
                    <a:pt x="47" y="10"/>
                    <a:pt x="48" y="10"/>
                    <a:pt x="49" y="10"/>
                  </a:cubicBezTo>
                  <a:cubicBezTo>
                    <a:pt x="45" y="40"/>
                    <a:pt x="45" y="40"/>
                    <a:pt x="45" y="40"/>
                  </a:cubicBezTo>
                  <a:cubicBezTo>
                    <a:pt x="45" y="42"/>
                    <a:pt x="46" y="43"/>
                    <a:pt x="47" y="44"/>
                  </a:cubicBezTo>
                  <a:cubicBezTo>
                    <a:pt x="49" y="46"/>
                    <a:pt x="51" y="46"/>
                    <a:pt x="52" y="45"/>
                  </a:cubicBezTo>
                  <a:cubicBezTo>
                    <a:pt x="64" y="40"/>
                    <a:pt x="75" y="35"/>
                    <a:pt x="79" y="33"/>
                  </a:cubicBezTo>
                  <a:cubicBezTo>
                    <a:pt x="81" y="38"/>
                    <a:pt x="81" y="43"/>
                    <a:pt x="81" y="48"/>
                  </a:cubicBezTo>
                  <a:close/>
                </a:path>
              </a:pathLst>
            </a:custGeom>
            <a:solidFill>
              <a:srgbClr val="231F20"/>
            </a:solidFill>
            <a:ln>
              <a:solidFill>
                <a:schemeClr val="accent1">
                  <a:lumMod val="50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Freeform 282">
              <a:extLst>
                <a:ext uri="{FF2B5EF4-FFF2-40B4-BE49-F238E27FC236}">
                  <a16:creationId xmlns:a16="http://schemas.microsoft.com/office/drawing/2014/main" id="{63E77D90-FE50-427C-8843-E9AABE6B90CA}"/>
                </a:ext>
              </a:extLst>
            </p:cNvPr>
            <p:cNvSpPr>
              <a:spLocks/>
            </p:cNvSpPr>
            <p:nvPr/>
          </p:nvSpPr>
          <p:spPr bwMode="auto">
            <a:xfrm>
              <a:off x="6219825" y="7291388"/>
              <a:ext cx="125413" cy="25400"/>
            </a:xfrm>
            <a:custGeom>
              <a:avLst/>
              <a:gdLst>
                <a:gd name="T0" fmla="*/ 45 w 50"/>
                <a:gd name="T1" fmla="*/ 0 h 10"/>
                <a:gd name="T2" fmla="*/ 5 w 50"/>
                <a:gd name="T3" fmla="*/ 0 h 10"/>
                <a:gd name="T4" fmla="*/ 0 w 50"/>
                <a:gd name="T5" fmla="*/ 5 h 10"/>
                <a:gd name="T6" fmla="*/ 5 w 50"/>
                <a:gd name="T7" fmla="*/ 10 h 10"/>
                <a:gd name="T8" fmla="*/ 45 w 50"/>
                <a:gd name="T9" fmla="*/ 10 h 10"/>
                <a:gd name="T10" fmla="*/ 50 w 50"/>
                <a:gd name="T11" fmla="*/ 5 h 10"/>
                <a:gd name="T12" fmla="*/ 45 w 5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0" h="10">
                  <a:moveTo>
                    <a:pt x="45" y="0"/>
                  </a:moveTo>
                  <a:cubicBezTo>
                    <a:pt x="5" y="0"/>
                    <a:pt x="5" y="0"/>
                    <a:pt x="5" y="0"/>
                  </a:cubicBezTo>
                  <a:cubicBezTo>
                    <a:pt x="3" y="0"/>
                    <a:pt x="0" y="2"/>
                    <a:pt x="0" y="5"/>
                  </a:cubicBezTo>
                  <a:cubicBezTo>
                    <a:pt x="0" y="8"/>
                    <a:pt x="3" y="10"/>
                    <a:pt x="5" y="10"/>
                  </a:cubicBezTo>
                  <a:cubicBezTo>
                    <a:pt x="45" y="10"/>
                    <a:pt x="45" y="10"/>
                    <a:pt x="45" y="10"/>
                  </a:cubicBezTo>
                  <a:cubicBezTo>
                    <a:pt x="47" y="10"/>
                    <a:pt x="50" y="8"/>
                    <a:pt x="50" y="5"/>
                  </a:cubicBezTo>
                  <a:cubicBezTo>
                    <a:pt x="50" y="2"/>
                    <a:pt x="47" y="0"/>
                    <a:pt x="45" y="0"/>
                  </a:cubicBezTo>
                  <a:close/>
                </a:path>
              </a:pathLst>
            </a:custGeom>
            <a:solidFill>
              <a:srgbClr val="231F20"/>
            </a:solidFill>
            <a:ln>
              <a:solidFill>
                <a:schemeClr val="accent1">
                  <a:lumMod val="50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Freeform 283">
              <a:extLst>
                <a:ext uri="{FF2B5EF4-FFF2-40B4-BE49-F238E27FC236}">
                  <a16:creationId xmlns:a16="http://schemas.microsoft.com/office/drawing/2014/main" id="{4A2450A7-90CA-4D6D-ABC1-38E144C7BEC2}"/>
                </a:ext>
              </a:extLst>
            </p:cNvPr>
            <p:cNvSpPr>
              <a:spLocks/>
            </p:cNvSpPr>
            <p:nvPr/>
          </p:nvSpPr>
          <p:spPr bwMode="auto">
            <a:xfrm>
              <a:off x="6219825" y="7213600"/>
              <a:ext cx="125413" cy="23812"/>
            </a:xfrm>
            <a:custGeom>
              <a:avLst/>
              <a:gdLst>
                <a:gd name="T0" fmla="*/ 45 w 50"/>
                <a:gd name="T1" fmla="*/ 0 h 10"/>
                <a:gd name="T2" fmla="*/ 5 w 50"/>
                <a:gd name="T3" fmla="*/ 0 h 10"/>
                <a:gd name="T4" fmla="*/ 0 w 50"/>
                <a:gd name="T5" fmla="*/ 5 h 10"/>
                <a:gd name="T6" fmla="*/ 5 w 50"/>
                <a:gd name="T7" fmla="*/ 10 h 10"/>
                <a:gd name="T8" fmla="*/ 45 w 50"/>
                <a:gd name="T9" fmla="*/ 10 h 10"/>
                <a:gd name="T10" fmla="*/ 50 w 50"/>
                <a:gd name="T11" fmla="*/ 5 h 10"/>
                <a:gd name="T12" fmla="*/ 45 w 5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0" h="10">
                  <a:moveTo>
                    <a:pt x="45" y="0"/>
                  </a:moveTo>
                  <a:cubicBezTo>
                    <a:pt x="5" y="0"/>
                    <a:pt x="5" y="0"/>
                    <a:pt x="5" y="0"/>
                  </a:cubicBezTo>
                  <a:cubicBezTo>
                    <a:pt x="3" y="0"/>
                    <a:pt x="0" y="3"/>
                    <a:pt x="0" y="5"/>
                  </a:cubicBezTo>
                  <a:cubicBezTo>
                    <a:pt x="0" y="8"/>
                    <a:pt x="3" y="10"/>
                    <a:pt x="5" y="10"/>
                  </a:cubicBezTo>
                  <a:cubicBezTo>
                    <a:pt x="45" y="10"/>
                    <a:pt x="45" y="10"/>
                    <a:pt x="45" y="10"/>
                  </a:cubicBezTo>
                  <a:cubicBezTo>
                    <a:pt x="47" y="10"/>
                    <a:pt x="50" y="8"/>
                    <a:pt x="50" y="5"/>
                  </a:cubicBezTo>
                  <a:cubicBezTo>
                    <a:pt x="50" y="3"/>
                    <a:pt x="47" y="0"/>
                    <a:pt x="45" y="0"/>
                  </a:cubicBezTo>
                  <a:close/>
                </a:path>
              </a:pathLst>
            </a:custGeom>
            <a:solidFill>
              <a:srgbClr val="231F20"/>
            </a:solidFill>
            <a:ln>
              <a:solidFill>
                <a:schemeClr val="accent1">
                  <a:lumMod val="50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Freeform 284">
              <a:extLst>
                <a:ext uri="{FF2B5EF4-FFF2-40B4-BE49-F238E27FC236}">
                  <a16:creationId xmlns:a16="http://schemas.microsoft.com/office/drawing/2014/main" id="{453631B0-D7D5-400F-941D-A454C4F9F956}"/>
                </a:ext>
              </a:extLst>
            </p:cNvPr>
            <p:cNvSpPr>
              <a:spLocks/>
            </p:cNvSpPr>
            <p:nvPr/>
          </p:nvSpPr>
          <p:spPr bwMode="auto">
            <a:xfrm>
              <a:off x="6219825" y="7137400"/>
              <a:ext cx="125413" cy="25400"/>
            </a:xfrm>
            <a:custGeom>
              <a:avLst/>
              <a:gdLst>
                <a:gd name="T0" fmla="*/ 45 w 50"/>
                <a:gd name="T1" fmla="*/ 0 h 10"/>
                <a:gd name="T2" fmla="*/ 5 w 50"/>
                <a:gd name="T3" fmla="*/ 0 h 10"/>
                <a:gd name="T4" fmla="*/ 0 w 50"/>
                <a:gd name="T5" fmla="*/ 5 h 10"/>
                <a:gd name="T6" fmla="*/ 5 w 50"/>
                <a:gd name="T7" fmla="*/ 10 h 10"/>
                <a:gd name="T8" fmla="*/ 45 w 50"/>
                <a:gd name="T9" fmla="*/ 10 h 10"/>
                <a:gd name="T10" fmla="*/ 50 w 50"/>
                <a:gd name="T11" fmla="*/ 5 h 10"/>
                <a:gd name="T12" fmla="*/ 45 w 5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0" h="10">
                  <a:moveTo>
                    <a:pt x="45" y="0"/>
                  </a:moveTo>
                  <a:cubicBezTo>
                    <a:pt x="5" y="0"/>
                    <a:pt x="5" y="0"/>
                    <a:pt x="5" y="0"/>
                  </a:cubicBezTo>
                  <a:cubicBezTo>
                    <a:pt x="3" y="0"/>
                    <a:pt x="0" y="2"/>
                    <a:pt x="0" y="5"/>
                  </a:cubicBezTo>
                  <a:cubicBezTo>
                    <a:pt x="0" y="8"/>
                    <a:pt x="3" y="10"/>
                    <a:pt x="5" y="10"/>
                  </a:cubicBezTo>
                  <a:cubicBezTo>
                    <a:pt x="45" y="10"/>
                    <a:pt x="45" y="10"/>
                    <a:pt x="45" y="10"/>
                  </a:cubicBezTo>
                  <a:cubicBezTo>
                    <a:pt x="47" y="10"/>
                    <a:pt x="50" y="8"/>
                    <a:pt x="50" y="5"/>
                  </a:cubicBezTo>
                  <a:cubicBezTo>
                    <a:pt x="50" y="2"/>
                    <a:pt x="47" y="0"/>
                    <a:pt x="45" y="0"/>
                  </a:cubicBezTo>
                  <a:close/>
                </a:path>
              </a:pathLst>
            </a:custGeom>
            <a:solidFill>
              <a:srgbClr val="231F20"/>
            </a:solidFill>
            <a:ln>
              <a:solidFill>
                <a:schemeClr val="accent1">
                  <a:lumMod val="50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0" name="Rectangle 29">
            <a:extLst>
              <a:ext uri="{FF2B5EF4-FFF2-40B4-BE49-F238E27FC236}">
                <a16:creationId xmlns:a16="http://schemas.microsoft.com/office/drawing/2014/main" id="{F4A43AAD-ED71-4ECC-A7C1-940656B80F85}"/>
              </a:ext>
            </a:extLst>
          </p:cNvPr>
          <p:cNvSpPr>
            <a:spLocks/>
          </p:cNvSpPr>
          <p:nvPr/>
        </p:nvSpPr>
        <p:spPr>
          <a:xfrm>
            <a:off x="6367900" y="1844987"/>
            <a:ext cx="2429978" cy="3959510"/>
          </a:xfrm>
          <a:prstGeom prst="rect">
            <a:avLst/>
          </a:prstGeom>
          <a:noFill/>
          <a:ln w="28575" cap="flat">
            <a:solidFill>
              <a:srgbClr val="052669"/>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Open Sans"/>
              <a:cs typeface="Open Sans"/>
              <a:sym typeface="Open Sans"/>
            </a:endParaRPr>
          </a:p>
        </p:txBody>
      </p:sp>
      <p:sp>
        <p:nvSpPr>
          <p:cNvPr id="31" name="Rectangle 30">
            <a:extLst>
              <a:ext uri="{FF2B5EF4-FFF2-40B4-BE49-F238E27FC236}">
                <a16:creationId xmlns:a16="http://schemas.microsoft.com/office/drawing/2014/main" id="{E0FAA5F0-90DA-4EA1-AFB2-4365FF326B70}"/>
              </a:ext>
            </a:extLst>
          </p:cNvPr>
          <p:cNvSpPr>
            <a:spLocks noChangeAspect="1"/>
          </p:cNvSpPr>
          <p:nvPr/>
        </p:nvSpPr>
        <p:spPr>
          <a:xfrm>
            <a:off x="6382375" y="1530671"/>
            <a:ext cx="2415504" cy="447282"/>
          </a:xfrm>
          <a:prstGeom prst="rect">
            <a:avLst/>
          </a:prstGeom>
          <a:solidFill>
            <a:srgbClr val="052669"/>
          </a:solidFill>
          <a:ln w="28575">
            <a:solidFill>
              <a:srgbClr val="052669"/>
            </a:solidFill>
          </a:ln>
          <a:effectLst/>
        </p:spPr>
        <p:style>
          <a:lnRef idx="0">
            <a:schemeClr val="accent2"/>
          </a:lnRef>
          <a:fillRef idx="3">
            <a:schemeClr val="accent2"/>
          </a:fillRef>
          <a:effectRef idx="3">
            <a:schemeClr val="accent2"/>
          </a:effectRef>
          <a:fontRef idx="minor">
            <a:schemeClr val="lt1"/>
          </a:fontRef>
        </p:style>
        <p:txBody>
          <a:bodyPr lIns="18288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Open Sans Extrabold" charset="0"/>
                <a:cs typeface="Open Sans Extrabold" charset="0"/>
              </a:rPr>
              <a:t>Participation Benefits</a:t>
            </a:r>
          </a:p>
        </p:txBody>
      </p:sp>
      <p:sp>
        <p:nvSpPr>
          <p:cNvPr id="67" name="Oval 66">
            <a:extLst>
              <a:ext uri="{FF2B5EF4-FFF2-40B4-BE49-F238E27FC236}">
                <a16:creationId xmlns:a16="http://schemas.microsoft.com/office/drawing/2014/main" id="{9F3E6A7C-89C2-43E6-B15F-D79BF7BF3849}"/>
              </a:ext>
            </a:extLst>
          </p:cNvPr>
          <p:cNvSpPr/>
          <p:nvPr/>
        </p:nvSpPr>
        <p:spPr>
          <a:xfrm>
            <a:off x="6089293" y="1447800"/>
            <a:ext cx="658805" cy="644436"/>
          </a:xfrm>
          <a:prstGeom prst="ellipse">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n-ea"/>
              <a:cs typeface="+mn-cs"/>
            </a:endParaRPr>
          </a:p>
        </p:txBody>
      </p:sp>
      <p:sp>
        <p:nvSpPr>
          <p:cNvPr id="68" name="Freeform 11">
            <a:extLst>
              <a:ext uri="{FF2B5EF4-FFF2-40B4-BE49-F238E27FC236}">
                <a16:creationId xmlns:a16="http://schemas.microsoft.com/office/drawing/2014/main" id="{011406F3-4165-4DEF-8E3E-B50F438B6D08}"/>
              </a:ext>
            </a:extLst>
          </p:cNvPr>
          <p:cNvSpPr>
            <a:spLocks noEditPoints="1"/>
          </p:cNvSpPr>
          <p:nvPr/>
        </p:nvSpPr>
        <p:spPr bwMode="auto">
          <a:xfrm>
            <a:off x="6115645" y="1474652"/>
            <a:ext cx="606100" cy="590733"/>
          </a:xfrm>
          <a:custGeom>
            <a:avLst/>
            <a:gdLst>
              <a:gd name="T0" fmla="*/ 312 w 658"/>
              <a:gd name="T1" fmla="*/ 658 h 658"/>
              <a:gd name="T2" fmla="*/ 262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6 h 658"/>
              <a:gd name="T24" fmla="*/ 172 w 658"/>
              <a:gd name="T25" fmla="*/ 40 h 658"/>
              <a:gd name="T26" fmla="*/ 247 w 658"/>
              <a:gd name="T27" fmla="*/ 10 h 658"/>
              <a:gd name="T28" fmla="*/ 296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2 w 658"/>
              <a:gd name="T41" fmla="*/ 201 h 658"/>
              <a:gd name="T42" fmla="*/ 652 w 658"/>
              <a:gd name="T43" fmla="*/ 263 h 658"/>
              <a:gd name="T44" fmla="*/ 657 w 658"/>
              <a:gd name="T45" fmla="*/ 313 h 658"/>
              <a:gd name="T46" fmla="*/ 657 w 658"/>
              <a:gd name="T47" fmla="*/ 346 h 658"/>
              <a:gd name="T48" fmla="*/ 652 w 658"/>
              <a:gd name="T49" fmla="*/ 396 h 658"/>
              <a:gd name="T50" fmla="*/ 632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7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7 w 658"/>
              <a:gd name="T81" fmla="*/ 571 h 658"/>
              <a:gd name="T82" fmla="*/ 242 w 658"/>
              <a:gd name="T83" fmla="*/ 607 h 658"/>
              <a:gd name="T84" fmla="*/ 329 w 658"/>
              <a:gd name="T85" fmla="*/ 621 h 658"/>
              <a:gd name="T86" fmla="*/ 387 w 658"/>
              <a:gd name="T87" fmla="*/ 615 h 658"/>
              <a:gd name="T88" fmla="*/ 468 w 658"/>
              <a:gd name="T89" fmla="*/ 586 h 658"/>
              <a:gd name="T90" fmla="*/ 535 w 658"/>
              <a:gd name="T91" fmla="*/ 535 h 658"/>
              <a:gd name="T92" fmla="*/ 585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2" y="652"/>
                </a:lnTo>
                <a:lnTo>
                  <a:pt x="247" y="648"/>
                </a:lnTo>
                <a:lnTo>
                  <a:pt x="231" y="644"/>
                </a:lnTo>
                <a:lnTo>
                  <a:pt x="202" y="633"/>
                </a:lnTo>
                <a:lnTo>
                  <a:pt x="172" y="618"/>
                </a:lnTo>
                <a:lnTo>
                  <a:pt x="145" y="602"/>
                </a:lnTo>
                <a:lnTo>
                  <a:pt x="120" y="583"/>
                </a:lnTo>
                <a:lnTo>
                  <a:pt x="97" y="562"/>
                </a:lnTo>
                <a:lnTo>
                  <a:pt x="75" y="539"/>
                </a:lnTo>
                <a:lnTo>
                  <a:pt x="56" y="513"/>
                </a:lnTo>
                <a:lnTo>
                  <a:pt x="40" y="486"/>
                </a:lnTo>
                <a:lnTo>
                  <a:pt x="25" y="457"/>
                </a:lnTo>
                <a:lnTo>
                  <a:pt x="15" y="427"/>
                </a:lnTo>
                <a:lnTo>
                  <a:pt x="11" y="411"/>
                </a:lnTo>
                <a:lnTo>
                  <a:pt x="7" y="396"/>
                </a:lnTo>
                <a:lnTo>
                  <a:pt x="4" y="379"/>
                </a:lnTo>
                <a:lnTo>
                  <a:pt x="1" y="363"/>
                </a:lnTo>
                <a:lnTo>
                  <a:pt x="0" y="346"/>
                </a:lnTo>
                <a:lnTo>
                  <a:pt x="0" y="329"/>
                </a:lnTo>
                <a:lnTo>
                  <a:pt x="0" y="329"/>
                </a:lnTo>
                <a:lnTo>
                  <a:pt x="0" y="313"/>
                </a:lnTo>
                <a:lnTo>
                  <a:pt x="1" y="295"/>
                </a:lnTo>
                <a:lnTo>
                  <a:pt x="4" y="279"/>
                </a:lnTo>
                <a:lnTo>
                  <a:pt x="7" y="263"/>
                </a:lnTo>
                <a:lnTo>
                  <a:pt x="11" y="247"/>
                </a:lnTo>
                <a:lnTo>
                  <a:pt x="15" y="232"/>
                </a:lnTo>
                <a:lnTo>
                  <a:pt x="25" y="201"/>
                </a:lnTo>
                <a:lnTo>
                  <a:pt x="40" y="173"/>
                </a:lnTo>
                <a:lnTo>
                  <a:pt x="56" y="145"/>
                </a:lnTo>
                <a:lnTo>
                  <a:pt x="75" y="121"/>
                </a:lnTo>
                <a:lnTo>
                  <a:pt x="97" y="96"/>
                </a:lnTo>
                <a:lnTo>
                  <a:pt x="120" y="75"/>
                </a:lnTo>
                <a:lnTo>
                  <a:pt x="145" y="56"/>
                </a:lnTo>
                <a:lnTo>
                  <a:pt x="172" y="40"/>
                </a:lnTo>
                <a:lnTo>
                  <a:pt x="202" y="27"/>
                </a:lnTo>
                <a:lnTo>
                  <a:pt x="231" y="16"/>
                </a:lnTo>
                <a:lnTo>
                  <a:pt x="247" y="10"/>
                </a:lnTo>
                <a:lnTo>
                  <a:pt x="262" y="6"/>
                </a:lnTo>
                <a:lnTo>
                  <a:pt x="279" y="4"/>
                </a:lnTo>
                <a:lnTo>
                  <a:pt x="296" y="2"/>
                </a:lnTo>
                <a:lnTo>
                  <a:pt x="312" y="1"/>
                </a:lnTo>
                <a:lnTo>
                  <a:pt x="329" y="0"/>
                </a:lnTo>
                <a:lnTo>
                  <a:pt x="329" y="0"/>
                </a:lnTo>
                <a:lnTo>
                  <a:pt x="345" y="1"/>
                </a:lnTo>
                <a:lnTo>
                  <a:pt x="363" y="2"/>
                </a:lnTo>
                <a:lnTo>
                  <a:pt x="379" y="4"/>
                </a:lnTo>
                <a:lnTo>
                  <a:pt x="395" y="6"/>
                </a:lnTo>
                <a:lnTo>
                  <a:pt x="411" y="10"/>
                </a:lnTo>
                <a:lnTo>
                  <a:pt x="426" y="16"/>
                </a:lnTo>
                <a:lnTo>
                  <a:pt x="457" y="27"/>
                </a:lnTo>
                <a:lnTo>
                  <a:pt x="485" y="40"/>
                </a:lnTo>
                <a:lnTo>
                  <a:pt x="513" y="56"/>
                </a:lnTo>
                <a:lnTo>
                  <a:pt x="538" y="75"/>
                </a:lnTo>
                <a:lnTo>
                  <a:pt x="562" y="96"/>
                </a:lnTo>
                <a:lnTo>
                  <a:pt x="583" y="121"/>
                </a:lnTo>
                <a:lnTo>
                  <a:pt x="602" y="145"/>
                </a:lnTo>
                <a:lnTo>
                  <a:pt x="618" y="173"/>
                </a:lnTo>
                <a:lnTo>
                  <a:pt x="632" y="201"/>
                </a:lnTo>
                <a:lnTo>
                  <a:pt x="644" y="232"/>
                </a:lnTo>
                <a:lnTo>
                  <a:pt x="648" y="247"/>
                </a:lnTo>
                <a:lnTo>
                  <a:pt x="652" y="263"/>
                </a:lnTo>
                <a:lnTo>
                  <a:pt x="654" y="279"/>
                </a:lnTo>
                <a:lnTo>
                  <a:pt x="656" y="295"/>
                </a:lnTo>
                <a:lnTo>
                  <a:pt x="657" y="313"/>
                </a:lnTo>
                <a:lnTo>
                  <a:pt x="658" y="329"/>
                </a:lnTo>
                <a:lnTo>
                  <a:pt x="658" y="329"/>
                </a:lnTo>
                <a:lnTo>
                  <a:pt x="657" y="346"/>
                </a:lnTo>
                <a:lnTo>
                  <a:pt x="656" y="363"/>
                </a:lnTo>
                <a:lnTo>
                  <a:pt x="654" y="379"/>
                </a:lnTo>
                <a:lnTo>
                  <a:pt x="652" y="396"/>
                </a:lnTo>
                <a:lnTo>
                  <a:pt x="648" y="411"/>
                </a:lnTo>
                <a:lnTo>
                  <a:pt x="644" y="427"/>
                </a:lnTo>
                <a:lnTo>
                  <a:pt x="632" y="457"/>
                </a:lnTo>
                <a:lnTo>
                  <a:pt x="618" y="486"/>
                </a:lnTo>
                <a:lnTo>
                  <a:pt x="602" y="513"/>
                </a:lnTo>
                <a:lnTo>
                  <a:pt x="583" y="539"/>
                </a:lnTo>
                <a:lnTo>
                  <a:pt x="562" y="562"/>
                </a:lnTo>
                <a:lnTo>
                  <a:pt x="538" y="583"/>
                </a:lnTo>
                <a:lnTo>
                  <a:pt x="513"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300" y="40"/>
                </a:lnTo>
                <a:lnTo>
                  <a:pt x="270" y="44"/>
                </a:lnTo>
                <a:lnTo>
                  <a:pt x="242" y="51"/>
                </a:lnTo>
                <a:lnTo>
                  <a:pt x="215" y="62"/>
                </a:lnTo>
                <a:lnTo>
                  <a:pt x="191" y="74"/>
                </a:lnTo>
                <a:lnTo>
                  <a:pt x="167" y="88"/>
                </a:lnTo>
                <a:lnTo>
                  <a:pt x="144" y="105"/>
                </a:lnTo>
                <a:lnTo>
                  <a:pt x="124" y="123"/>
                </a:lnTo>
                <a:lnTo>
                  <a:pt x="105" y="144"/>
                </a:lnTo>
                <a:lnTo>
                  <a:pt x="87" y="166"/>
                </a:lnTo>
                <a:lnTo>
                  <a:pt x="73" y="191"/>
                </a:lnTo>
                <a:lnTo>
                  <a:pt x="60" y="216"/>
                </a:lnTo>
                <a:lnTo>
                  <a:pt x="51" y="243"/>
                </a:lnTo>
                <a:lnTo>
                  <a:pt x="43" y="271"/>
                </a:lnTo>
                <a:lnTo>
                  <a:pt x="39" y="299"/>
                </a:lnTo>
                <a:lnTo>
                  <a:pt x="38" y="329"/>
                </a:lnTo>
                <a:lnTo>
                  <a:pt x="38" y="329"/>
                </a:lnTo>
                <a:lnTo>
                  <a:pt x="39" y="359"/>
                </a:lnTo>
                <a:lnTo>
                  <a:pt x="43" y="388"/>
                </a:lnTo>
                <a:lnTo>
                  <a:pt x="51" y="416"/>
                </a:lnTo>
                <a:lnTo>
                  <a:pt x="60" y="443"/>
                </a:lnTo>
                <a:lnTo>
                  <a:pt x="73" y="467"/>
                </a:lnTo>
                <a:lnTo>
                  <a:pt x="87"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7" y="416"/>
                </a:lnTo>
                <a:lnTo>
                  <a:pt x="614" y="388"/>
                </a:lnTo>
                <a:lnTo>
                  <a:pt x="618" y="359"/>
                </a:lnTo>
                <a:lnTo>
                  <a:pt x="621" y="329"/>
                </a:lnTo>
                <a:lnTo>
                  <a:pt x="621" y="329"/>
                </a:lnTo>
                <a:lnTo>
                  <a:pt x="618" y="299"/>
                </a:lnTo>
                <a:lnTo>
                  <a:pt x="614" y="271"/>
                </a:lnTo>
                <a:lnTo>
                  <a:pt x="607" y="243"/>
                </a:lnTo>
                <a:lnTo>
                  <a:pt x="597" y="216"/>
                </a:lnTo>
                <a:lnTo>
                  <a:pt x="585" y="191"/>
                </a:lnTo>
                <a:lnTo>
                  <a:pt x="570" y="166"/>
                </a:lnTo>
                <a:lnTo>
                  <a:pt x="554" y="144"/>
                </a:lnTo>
                <a:lnTo>
                  <a:pt x="535" y="123"/>
                </a:lnTo>
                <a:lnTo>
                  <a:pt x="515" y="105"/>
                </a:lnTo>
                <a:lnTo>
                  <a:pt x="492" y="88"/>
                </a:lnTo>
                <a:lnTo>
                  <a:pt x="468" y="74"/>
                </a:lnTo>
                <a:lnTo>
                  <a:pt x="442" y="62"/>
                </a:lnTo>
                <a:lnTo>
                  <a:pt x="415" y="51"/>
                </a:lnTo>
                <a:lnTo>
                  <a:pt x="387" y="44"/>
                </a:lnTo>
                <a:lnTo>
                  <a:pt x="359" y="40"/>
                </a:lnTo>
                <a:lnTo>
                  <a:pt x="329" y="37"/>
                </a:lnTo>
                <a:lnTo>
                  <a:pt x="329" y="37"/>
                </a:lnTo>
                <a:close/>
              </a:path>
            </a:pathLst>
          </a:custGeom>
          <a:solidFill>
            <a:srgbClr val="364C7D"/>
          </a:solidFill>
          <a:ln>
            <a:solidFill>
              <a:srgbClr val="052669"/>
            </a:solid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n-ea"/>
              <a:cs typeface="+mn-cs"/>
            </a:endParaRPr>
          </a:p>
        </p:txBody>
      </p:sp>
      <p:sp>
        <p:nvSpPr>
          <p:cNvPr id="102" name="TextBox 101">
            <a:extLst>
              <a:ext uri="{FF2B5EF4-FFF2-40B4-BE49-F238E27FC236}">
                <a16:creationId xmlns:a16="http://schemas.microsoft.com/office/drawing/2014/main" id="{3D7E6386-EA5A-4E91-B9B3-788ECF1A70FB}"/>
              </a:ext>
            </a:extLst>
          </p:cNvPr>
          <p:cNvSpPr txBox="1"/>
          <p:nvPr/>
        </p:nvSpPr>
        <p:spPr>
          <a:xfrm>
            <a:off x="6367900" y="2156986"/>
            <a:ext cx="2404560" cy="2568267"/>
          </a:xfrm>
          <a:prstGeom prst="rect">
            <a:avLst/>
          </a:prstGeom>
          <a:noFill/>
        </p:spPr>
        <p:txBody>
          <a:bodyPr wrap="square" tIns="0">
            <a:spAutoFit/>
          </a:bodyPr>
          <a:lstStyle/>
          <a:p>
            <a:pPr marL="0" marR="0" lvl="1" indent="0" algn="l" defTabSz="914400" rtl="0" eaLnBrk="1" fontAlgn="auto" latinLnBrk="0" hangingPunct="1">
              <a:lnSpc>
                <a:spcPct val="125000"/>
              </a:lnSpc>
              <a:spcBef>
                <a:spcPts val="600"/>
              </a:spcBef>
              <a:spcAft>
                <a:spcPts val="1200"/>
              </a:spcAft>
              <a:buClrTx/>
              <a:buSzPct val="100000"/>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Receive no-cost support in completing the NCSR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nd access to suggested corrective actions,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future State and Federal funded support</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nd resources to improve your </a:t>
            </a:r>
            <a:r>
              <a:rPr kumimoji="0" lang="en-US" sz="1200" b="0" i="0" u="none" strike="noStrike" kern="1200" cap="none" spc="0" normalizeH="0" baseline="0" noProof="0" dirty="0">
                <a:ln>
                  <a:noFill/>
                </a:ln>
                <a:solidFill>
                  <a:prstClr val="black"/>
                </a:solidFill>
                <a:effectLst/>
                <a:uLnTx/>
                <a:uFillTx/>
                <a:latin typeface="Calibri" panose="020F0502020204030204"/>
                <a:ea typeface="Verdana"/>
                <a:cs typeface="+mn-cs"/>
              </a:rPr>
              <a:t>cybersecurity</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aturity.</a:t>
            </a:r>
          </a:p>
          <a:p>
            <a:pPr marL="0" marR="0" lvl="1" indent="0" algn="l" defTabSz="914400" rtl="0" eaLnBrk="1" fontAlgn="auto" latinLnBrk="0" hangingPunct="1">
              <a:lnSpc>
                <a:spcPct val="125000"/>
              </a:lnSpc>
              <a:spcBef>
                <a:spcPts val="600"/>
              </a:spcBef>
              <a:spcAft>
                <a:spcPts val="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Receive metrics specific to your organization to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identify gaps, prioritize next steps,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nd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measure year-to-year progress.</a:t>
            </a:r>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20" name="Group 119">
            <a:extLst>
              <a:ext uri="{FF2B5EF4-FFF2-40B4-BE49-F238E27FC236}">
                <a16:creationId xmlns:a16="http://schemas.microsoft.com/office/drawing/2014/main" id="{D300B497-EDA5-4A1E-9BFA-2D9A19D84558}"/>
              </a:ext>
            </a:extLst>
          </p:cNvPr>
          <p:cNvGrpSpPr/>
          <p:nvPr/>
        </p:nvGrpSpPr>
        <p:grpSpPr>
          <a:xfrm>
            <a:off x="6273057" y="1606681"/>
            <a:ext cx="291605" cy="326623"/>
            <a:chOff x="2879725" y="7102475"/>
            <a:chExt cx="565150" cy="566738"/>
          </a:xfrm>
        </p:grpSpPr>
        <p:sp>
          <p:nvSpPr>
            <p:cNvPr id="121" name="Freeform 186">
              <a:extLst>
                <a:ext uri="{FF2B5EF4-FFF2-40B4-BE49-F238E27FC236}">
                  <a16:creationId xmlns:a16="http://schemas.microsoft.com/office/drawing/2014/main" id="{8557D17E-2941-4DA1-9F61-2EFE540EB318}"/>
                </a:ext>
              </a:extLst>
            </p:cNvPr>
            <p:cNvSpPr>
              <a:spLocks/>
            </p:cNvSpPr>
            <p:nvPr/>
          </p:nvSpPr>
          <p:spPr bwMode="auto">
            <a:xfrm>
              <a:off x="3027363" y="7559675"/>
              <a:ext cx="41275" cy="109538"/>
            </a:xfrm>
            <a:custGeom>
              <a:avLst/>
              <a:gdLst>
                <a:gd name="T0" fmla="*/ 13 w 18"/>
                <a:gd name="T1" fmla="*/ 0 h 47"/>
                <a:gd name="T2" fmla="*/ 8 w 18"/>
                <a:gd name="T3" fmla="*/ 4 h 47"/>
                <a:gd name="T4" fmla="*/ 0 w 18"/>
                <a:gd name="T5" fmla="*/ 41 h 47"/>
                <a:gd name="T6" fmla="*/ 4 w 18"/>
                <a:gd name="T7" fmla="*/ 47 h 47"/>
                <a:gd name="T8" fmla="*/ 5 w 18"/>
                <a:gd name="T9" fmla="*/ 47 h 47"/>
                <a:gd name="T10" fmla="*/ 10 w 18"/>
                <a:gd name="T11" fmla="*/ 43 h 47"/>
                <a:gd name="T12" fmla="*/ 17 w 18"/>
                <a:gd name="T13" fmla="*/ 6 h 47"/>
                <a:gd name="T14" fmla="*/ 13 w 18"/>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7">
                  <a:moveTo>
                    <a:pt x="13" y="0"/>
                  </a:moveTo>
                  <a:cubicBezTo>
                    <a:pt x="11" y="0"/>
                    <a:pt x="8" y="1"/>
                    <a:pt x="8" y="4"/>
                  </a:cubicBezTo>
                  <a:cubicBezTo>
                    <a:pt x="0" y="41"/>
                    <a:pt x="0" y="41"/>
                    <a:pt x="0" y="41"/>
                  </a:cubicBezTo>
                  <a:cubicBezTo>
                    <a:pt x="0" y="44"/>
                    <a:pt x="2" y="46"/>
                    <a:pt x="4" y="47"/>
                  </a:cubicBezTo>
                  <a:cubicBezTo>
                    <a:pt x="5" y="47"/>
                    <a:pt x="5" y="47"/>
                    <a:pt x="5" y="47"/>
                  </a:cubicBezTo>
                  <a:cubicBezTo>
                    <a:pt x="8" y="47"/>
                    <a:pt x="10" y="45"/>
                    <a:pt x="10" y="43"/>
                  </a:cubicBezTo>
                  <a:cubicBezTo>
                    <a:pt x="17" y="6"/>
                    <a:pt x="17" y="6"/>
                    <a:pt x="17" y="6"/>
                  </a:cubicBezTo>
                  <a:cubicBezTo>
                    <a:pt x="18" y="3"/>
                    <a:pt x="16" y="1"/>
                    <a:pt x="13"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187">
              <a:extLst>
                <a:ext uri="{FF2B5EF4-FFF2-40B4-BE49-F238E27FC236}">
                  <a16:creationId xmlns:a16="http://schemas.microsoft.com/office/drawing/2014/main" id="{449EA621-B150-4A48-BF98-0DEAB54C3AB9}"/>
                </a:ext>
              </a:extLst>
            </p:cNvPr>
            <p:cNvSpPr>
              <a:spLocks/>
            </p:cNvSpPr>
            <p:nvPr/>
          </p:nvSpPr>
          <p:spPr bwMode="auto">
            <a:xfrm>
              <a:off x="3254375" y="7559675"/>
              <a:ext cx="42862" cy="109538"/>
            </a:xfrm>
            <a:custGeom>
              <a:avLst/>
              <a:gdLst>
                <a:gd name="T0" fmla="*/ 5 w 18"/>
                <a:gd name="T1" fmla="*/ 0 h 47"/>
                <a:gd name="T2" fmla="*/ 1 w 18"/>
                <a:gd name="T3" fmla="*/ 6 h 47"/>
                <a:gd name="T4" fmla="*/ 8 w 18"/>
                <a:gd name="T5" fmla="*/ 43 h 47"/>
                <a:gd name="T6" fmla="*/ 13 w 18"/>
                <a:gd name="T7" fmla="*/ 47 h 47"/>
                <a:gd name="T8" fmla="*/ 14 w 18"/>
                <a:gd name="T9" fmla="*/ 47 h 47"/>
                <a:gd name="T10" fmla="*/ 18 w 18"/>
                <a:gd name="T11" fmla="*/ 41 h 47"/>
                <a:gd name="T12" fmla="*/ 11 w 18"/>
                <a:gd name="T13" fmla="*/ 4 h 47"/>
                <a:gd name="T14" fmla="*/ 5 w 18"/>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7">
                  <a:moveTo>
                    <a:pt x="5" y="0"/>
                  </a:moveTo>
                  <a:cubicBezTo>
                    <a:pt x="2" y="1"/>
                    <a:pt x="0" y="3"/>
                    <a:pt x="1" y="6"/>
                  </a:cubicBezTo>
                  <a:cubicBezTo>
                    <a:pt x="8" y="43"/>
                    <a:pt x="8" y="43"/>
                    <a:pt x="8" y="43"/>
                  </a:cubicBezTo>
                  <a:cubicBezTo>
                    <a:pt x="9" y="45"/>
                    <a:pt x="11" y="47"/>
                    <a:pt x="13" y="47"/>
                  </a:cubicBezTo>
                  <a:cubicBezTo>
                    <a:pt x="13" y="47"/>
                    <a:pt x="14" y="47"/>
                    <a:pt x="14" y="47"/>
                  </a:cubicBezTo>
                  <a:cubicBezTo>
                    <a:pt x="17" y="46"/>
                    <a:pt x="18" y="44"/>
                    <a:pt x="18" y="41"/>
                  </a:cubicBezTo>
                  <a:cubicBezTo>
                    <a:pt x="11" y="4"/>
                    <a:pt x="11" y="4"/>
                    <a:pt x="11" y="4"/>
                  </a:cubicBezTo>
                  <a:cubicBezTo>
                    <a:pt x="10" y="1"/>
                    <a:pt x="8" y="0"/>
                    <a:pt x="5"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188">
              <a:extLst>
                <a:ext uri="{FF2B5EF4-FFF2-40B4-BE49-F238E27FC236}">
                  <a16:creationId xmlns:a16="http://schemas.microsoft.com/office/drawing/2014/main" id="{636D48F3-CF6E-49C4-AD49-C4F770174B4B}"/>
                </a:ext>
              </a:extLst>
            </p:cNvPr>
            <p:cNvSpPr>
              <a:spLocks noEditPoints="1"/>
            </p:cNvSpPr>
            <p:nvPr/>
          </p:nvSpPr>
          <p:spPr bwMode="auto">
            <a:xfrm>
              <a:off x="2879725" y="7102475"/>
              <a:ext cx="565150" cy="434975"/>
            </a:xfrm>
            <a:custGeom>
              <a:avLst/>
              <a:gdLst>
                <a:gd name="T0" fmla="*/ 239 w 244"/>
                <a:gd name="T1" fmla="*/ 18 h 187"/>
                <a:gd name="T2" fmla="*/ 160 w 244"/>
                <a:gd name="T3" fmla="*/ 18 h 187"/>
                <a:gd name="T4" fmla="*/ 160 w 244"/>
                <a:gd name="T5" fmla="*/ 5 h 187"/>
                <a:gd name="T6" fmla="*/ 155 w 244"/>
                <a:gd name="T7" fmla="*/ 0 h 187"/>
                <a:gd name="T8" fmla="*/ 150 w 244"/>
                <a:gd name="T9" fmla="*/ 5 h 187"/>
                <a:gd name="T10" fmla="*/ 150 w 244"/>
                <a:gd name="T11" fmla="*/ 18 h 187"/>
                <a:gd name="T12" fmla="*/ 92 w 244"/>
                <a:gd name="T13" fmla="*/ 18 h 187"/>
                <a:gd name="T14" fmla="*/ 92 w 244"/>
                <a:gd name="T15" fmla="*/ 5 h 187"/>
                <a:gd name="T16" fmla="*/ 88 w 244"/>
                <a:gd name="T17" fmla="*/ 0 h 187"/>
                <a:gd name="T18" fmla="*/ 83 w 244"/>
                <a:gd name="T19" fmla="*/ 5 h 187"/>
                <a:gd name="T20" fmla="*/ 83 w 244"/>
                <a:gd name="T21" fmla="*/ 18 h 187"/>
                <a:gd name="T22" fmla="*/ 5 w 244"/>
                <a:gd name="T23" fmla="*/ 18 h 187"/>
                <a:gd name="T24" fmla="*/ 0 w 244"/>
                <a:gd name="T25" fmla="*/ 23 h 187"/>
                <a:gd name="T26" fmla="*/ 0 w 244"/>
                <a:gd name="T27" fmla="*/ 182 h 187"/>
                <a:gd name="T28" fmla="*/ 5 w 244"/>
                <a:gd name="T29" fmla="*/ 187 h 187"/>
                <a:gd name="T30" fmla="*/ 239 w 244"/>
                <a:gd name="T31" fmla="*/ 187 h 187"/>
                <a:gd name="T32" fmla="*/ 244 w 244"/>
                <a:gd name="T33" fmla="*/ 182 h 187"/>
                <a:gd name="T34" fmla="*/ 244 w 244"/>
                <a:gd name="T35" fmla="*/ 23 h 187"/>
                <a:gd name="T36" fmla="*/ 239 w 244"/>
                <a:gd name="T37" fmla="*/ 18 h 187"/>
                <a:gd name="T38" fmla="*/ 235 w 244"/>
                <a:gd name="T39" fmla="*/ 177 h 187"/>
                <a:gd name="T40" fmla="*/ 10 w 244"/>
                <a:gd name="T41" fmla="*/ 177 h 187"/>
                <a:gd name="T42" fmla="*/ 10 w 244"/>
                <a:gd name="T43" fmla="*/ 27 h 187"/>
                <a:gd name="T44" fmla="*/ 235 w 244"/>
                <a:gd name="T45" fmla="*/ 27 h 187"/>
                <a:gd name="T46" fmla="*/ 235 w 244"/>
                <a:gd name="T47" fmla="*/ 17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4" h="187">
                  <a:moveTo>
                    <a:pt x="239" y="18"/>
                  </a:moveTo>
                  <a:cubicBezTo>
                    <a:pt x="160" y="18"/>
                    <a:pt x="160" y="18"/>
                    <a:pt x="160" y="18"/>
                  </a:cubicBezTo>
                  <a:cubicBezTo>
                    <a:pt x="160" y="5"/>
                    <a:pt x="160" y="5"/>
                    <a:pt x="160" y="5"/>
                  </a:cubicBezTo>
                  <a:cubicBezTo>
                    <a:pt x="160" y="2"/>
                    <a:pt x="158" y="0"/>
                    <a:pt x="155" y="0"/>
                  </a:cubicBezTo>
                  <a:cubicBezTo>
                    <a:pt x="152" y="0"/>
                    <a:pt x="150" y="2"/>
                    <a:pt x="150" y="5"/>
                  </a:cubicBezTo>
                  <a:cubicBezTo>
                    <a:pt x="150" y="18"/>
                    <a:pt x="150" y="18"/>
                    <a:pt x="150" y="18"/>
                  </a:cubicBezTo>
                  <a:cubicBezTo>
                    <a:pt x="92" y="18"/>
                    <a:pt x="92" y="18"/>
                    <a:pt x="92" y="18"/>
                  </a:cubicBezTo>
                  <a:cubicBezTo>
                    <a:pt x="92" y="5"/>
                    <a:pt x="92" y="5"/>
                    <a:pt x="92" y="5"/>
                  </a:cubicBezTo>
                  <a:cubicBezTo>
                    <a:pt x="92" y="2"/>
                    <a:pt x="90" y="0"/>
                    <a:pt x="88" y="0"/>
                  </a:cubicBezTo>
                  <a:cubicBezTo>
                    <a:pt x="85" y="0"/>
                    <a:pt x="83" y="2"/>
                    <a:pt x="83" y="5"/>
                  </a:cubicBezTo>
                  <a:cubicBezTo>
                    <a:pt x="83" y="18"/>
                    <a:pt x="83" y="18"/>
                    <a:pt x="83" y="18"/>
                  </a:cubicBezTo>
                  <a:cubicBezTo>
                    <a:pt x="5" y="18"/>
                    <a:pt x="5" y="18"/>
                    <a:pt x="5" y="18"/>
                  </a:cubicBezTo>
                  <a:cubicBezTo>
                    <a:pt x="2" y="18"/>
                    <a:pt x="0" y="20"/>
                    <a:pt x="0" y="23"/>
                  </a:cubicBezTo>
                  <a:cubicBezTo>
                    <a:pt x="0" y="182"/>
                    <a:pt x="0" y="182"/>
                    <a:pt x="0" y="182"/>
                  </a:cubicBezTo>
                  <a:cubicBezTo>
                    <a:pt x="0" y="185"/>
                    <a:pt x="2" y="187"/>
                    <a:pt x="5" y="187"/>
                  </a:cubicBezTo>
                  <a:cubicBezTo>
                    <a:pt x="239" y="187"/>
                    <a:pt x="239" y="187"/>
                    <a:pt x="239" y="187"/>
                  </a:cubicBezTo>
                  <a:cubicBezTo>
                    <a:pt x="242" y="187"/>
                    <a:pt x="244" y="185"/>
                    <a:pt x="244" y="182"/>
                  </a:cubicBezTo>
                  <a:cubicBezTo>
                    <a:pt x="244" y="23"/>
                    <a:pt x="244" y="23"/>
                    <a:pt x="244" y="23"/>
                  </a:cubicBezTo>
                  <a:cubicBezTo>
                    <a:pt x="244" y="20"/>
                    <a:pt x="242" y="18"/>
                    <a:pt x="239" y="18"/>
                  </a:cubicBezTo>
                  <a:close/>
                  <a:moveTo>
                    <a:pt x="235" y="177"/>
                  </a:moveTo>
                  <a:cubicBezTo>
                    <a:pt x="10" y="177"/>
                    <a:pt x="10" y="177"/>
                    <a:pt x="10" y="177"/>
                  </a:cubicBezTo>
                  <a:cubicBezTo>
                    <a:pt x="10" y="27"/>
                    <a:pt x="10" y="27"/>
                    <a:pt x="10" y="27"/>
                  </a:cubicBezTo>
                  <a:cubicBezTo>
                    <a:pt x="235" y="27"/>
                    <a:pt x="235" y="27"/>
                    <a:pt x="235" y="27"/>
                  </a:cubicBezTo>
                  <a:lnTo>
                    <a:pt x="235" y="177"/>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Freeform 189">
              <a:extLst>
                <a:ext uri="{FF2B5EF4-FFF2-40B4-BE49-F238E27FC236}">
                  <a16:creationId xmlns:a16="http://schemas.microsoft.com/office/drawing/2014/main" id="{6494FD36-5692-4C2A-83F6-2D7A06A6F403}"/>
                </a:ext>
              </a:extLst>
            </p:cNvPr>
            <p:cNvSpPr>
              <a:spLocks noEditPoints="1"/>
            </p:cNvSpPr>
            <p:nvPr/>
          </p:nvSpPr>
          <p:spPr bwMode="auto">
            <a:xfrm>
              <a:off x="3006725" y="7388225"/>
              <a:ext cx="85725" cy="80963"/>
            </a:xfrm>
            <a:custGeom>
              <a:avLst/>
              <a:gdLst>
                <a:gd name="T0" fmla="*/ 8 w 37"/>
                <a:gd name="T1" fmla="*/ 35 h 35"/>
                <a:gd name="T2" fmla="*/ 29 w 37"/>
                <a:gd name="T3" fmla="*/ 35 h 35"/>
                <a:gd name="T4" fmla="*/ 37 w 37"/>
                <a:gd name="T5" fmla="*/ 27 h 35"/>
                <a:gd name="T6" fmla="*/ 37 w 37"/>
                <a:gd name="T7" fmla="*/ 8 h 35"/>
                <a:gd name="T8" fmla="*/ 29 w 37"/>
                <a:gd name="T9" fmla="*/ 0 h 35"/>
                <a:gd name="T10" fmla="*/ 8 w 37"/>
                <a:gd name="T11" fmla="*/ 0 h 35"/>
                <a:gd name="T12" fmla="*/ 0 w 37"/>
                <a:gd name="T13" fmla="*/ 8 h 35"/>
                <a:gd name="T14" fmla="*/ 0 w 37"/>
                <a:gd name="T15" fmla="*/ 27 h 35"/>
                <a:gd name="T16" fmla="*/ 8 w 37"/>
                <a:gd name="T17" fmla="*/ 35 h 35"/>
                <a:gd name="T18" fmla="*/ 10 w 37"/>
                <a:gd name="T19" fmla="*/ 10 h 35"/>
                <a:gd name="T20" fmla="*/ 27 w 37"/>
                <a:gd name="T21" fmla="*/ 10 h 35"/>
                <a:gd name="T22" fmla="*/ 27 w 37"/>
                <a:gd name="T23" fmla="*/ 25 h 35"/>
                <a:gd name="T24" fmla="*/ 10 w 37"/>
                <a:gd name="T25" fmla="*/ 25 h 35"/>
                <a:gd name="T26" fmla="*/ 10 w 37"/>
                <a:gd name="T27" fmla="*/ 1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5">
                  <a:moveTo>
                    <a:pt x="8" y="35"/>
                  </a:moveTo>
                  <a:cubicBezTo>
                    <a:pt x="29" y="35"/>
                    <a:pt x="29" y="35"/>
                    <a:pt x="29" y="35"/>
                  </a:cubicBezTo>
                  <a:cubicBezTo>
                    <a:pt x="33" y="35"/>
                    <a:pt x="37" y="32"/>
                    <a:pt x="37" y="27"/>
                  </a:cubicBezTo>
                  <a:cubicBezTo>
                    <a:pt x="37" y="8"/>
                    <a:pt x="37" y="8"/>
                    <a:pt x="37" y="8"/>
                  </a:cubicBezTo>
                  <a:cubicBezTo>
                    <a:pt x="37" y="3"/>
                    <a:pt x="33" y="0"/>
                    <a:pt x="29" y="0"/>
                  </a:cubicBezTo>
                  <a:cubicBezTo>
                    <a:pt x="8" y="0"/>
                    <a:pt x="8" y="0"/>
                    <a:pt x="8" y="0"/>
                  </a:cubicBezTo>
                  <a:cubicBezTo>
                    <a:pt x="4" y="0"/>
                    <a:pt x="0" y="3"/>
                    <a:pt x="0" y="8"/>
                  </a:cubicBezTo>
                  <a:cubicBezTo>
                    <a:pt x="0" y="27"/>
                    <a:pt x="0" y="27"/>
                    <a:pt x="0" y="27"/>
                  </a:cubicBezTo>
                  <a:cubicBezTo>
                    <a:pt x="0" y="32"/>
                    <a:pt x="4" y="35"/>
                    <a:pt x="8" y="35"/>
                  </a:cubicBezTo>
                  <a:close/>
                  <a:moveTo>
                    <a:pt x="10" y="10"/>
                  </a:moveTo>
                  <a:cubicBezTo>
                    <a:pt x="27" y="10"/>
                    <a:pt x="27" y="10"/>
                    <a:pt x="27" y="10"/>
                  </a:cubicBezTo>
                  <a:cubicBezTo>
                    <a:pt x="27" y="25"/>
                    <a:pt x="27" y="25"/>
                    <a:pt x="27" y="25"/>
                  </a:cubicBezTo>
                  <a:cubicBezTo>
                    <a:pt x="10" y="25"/>
                    <a:pt x="10" y="25"/>
                    <a:pt x="10" y="25"/>
                  </a:cubicBezTo>
                  <a:lnTo>
                    <a:pt x="10" y="10"/>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190">
              <a:extLst>
                <a:ext uri="{FF2B5EF4-FFF2-40B4-BE49-F238E27FC236}">
                  <a16:creationId xmlns:a16="http://schemas.microsoft.com/office/drawing/2014/main" id="{DB55C315-52DA-4B70-85F8-6229432F060C}"/>
                </a:ext>
              </a:extLst>
            </p:cNvPr>
            <p:cNvSpPr>
              <a:spLocks noEditPoints="1"/>
            </p:cNvSpPr>
            <p:nvPr/>
          </p:nvSpPr>
          <p:spPr bwMode="auto">
            <a:xfrm>
              <a:off x="3121025" y="7329488"/>
              <a:ext cx="82550" cy="139700"/>
            </a:xfrm>
            <a:custGeom>
              <a:avLst/>
              <a:gdLst>
                <a:gd name="T0" fmla="*/ 0 w 36"/>
                <a:gd name="T1" fmla="*/ 8 h 60"/>
                <a:gd name="T2" fmla="*/ 0 w 36"/>
                <a:gd name="T3" fmla="*/ 52 h 60"/>
                <a:gd name="T4" fmla="*/ 8 w 36"/>
                <a:gd name="T5" fmla="*/ 60 h 60"/>
                <a:gd name="T6" fmla="*/ 28 w 36"/>
                <a:gd name="T7" fmla="*/ 60 h 60"/>
                <a:gd name="T8" fmla="*/ 36 w 36"/>
                <a:gd name="T9" fmla="*/ 52 h 60"/>
                <a:gd name="T10" fmla="*/ 36 w 36"/>
                <a:gd name="T11" fmla="*/ 8 h 60"/>
                <a:gd name="T12" fmla="*/ 28 w 36"/>
                <a:gd name="T13" fmla="*/ 0 h 60"/>
                <a:gd name="T14" fmla="*/ 8 w 36"/>
                <a:gd name="T15" fmla="*/ 0 h 60"/>
                <a:gd name="T16" fmla="*/ 0 w 36"/>
                <a:gd name="T17" fmla="*/ 8 h 60"/>
                <a:gd name="T18" fmla="*/ 10 w 36"/>
                <a:gd name="T19" fmla="*/ 10 h 60"/>
                <a:gd name="T20" fmla="*/ 26 w 36"/>
                <a:gd name="T21" fmla="*/ 10 h 60"/>
                <a:gd name="T22" fmla="*/ 26 w 36"/>
                <a:gd name="T23" fmla="*/ 50 h 60"/>
                <a:gd name="T24" fmla="*/ 10 w 36"/>
                <a:gd name="T25" fmla="*/ 50 h 60"/>
                <a:gd name="T26" fmla="*/ 10 w 36"/>
                <a:gd name="T27"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0">
                  <a:moveTo>
                    <a:pt x="0" y="8"/>
                  </a:moveTo>
                  <a:cubicBezTo>
                    <a:pt x="0" y="52"/>
                    <a:pt x="0" y="52"/>
                    <a:pt x="0" y="52"/>
                  </a:cubicBezTo>
                  <a:cubicBezTo>
                    <a:pt x="0" y="57"/>
                    <a:pt x="4" y="60"/>
                    <a:pt x="8" y="60"/>
                  </a:cubicBezTo>
                  <a:cubicBezTo>
                    <a:pt x="28" y="60"/>
                    <a:pt x="28" y="60"/>
                    <a:pt x="28" y="60"/>
                  </a:cubicBezTo>
                  <a:cubicBezTo>
                    <a:pt x="33" y="60"/>
                    <a:pt x="36" y="57"/>
                    <a:pt x="36" y="52"/>
                  </a:cubicBezTo>
                  <a:cubicBezTo>
                    <a:pt x="36" y="8"/>
                    <a:pt x="36" y="8"/>
                    <a:pt x="36" y="8"/>
                  </a:cubicBezTo>
                  <a:cubicBezTo>
                    <a:pt x="36" y="4"/>
                    <a:pt x="33" y="0"/>
                    <a:pt x="28" y="0"/>
                  </a:cubicBezTo>
                  <a:cubicBezTo>
                    <a:pt x="8" y="0"/>
                    <a:pt x="8" y="0"/>
                    <a:pt x="8" y="0"/>
                  </a:cubicBezTo>
                  <a:cubicBezTo>
                    <a:pt x="4" y="0"/>
                    <a:pt x="0" y="4"/>
                    <a:pt x="0" y="8"/>
                  </a:cubicBezTo>
                  <a:close/>
                  <a:moveTo>
                    <a:pt x="10" y="10"/>
                  </a:moveTo>
                  <a:cubicBezTo>
                    <a:pt x="26" y="10"/>
                    <a:pt x="26" y="10"/>
                    <a:pt x="26" y="10"/>
                  </a:cubicBezTo>
                  <a:cubicBezTo>
                    <a:pt x="26" y="50"/>
                    <a:pt x="26" y="50"/>
                    <a:pt x="26" y="50"/>
                  </a:cubicBezTo>
                  <a:cubicBezTo>
                    <a:pt x="10" y="50"/>
                    <a:pt x="10" y="50"/>
                    <a:pt x="10" y="50"/>
                  </a:cubicBezTo>
                  <a:lnTo>
                    <a:pt x="10" y="10"/>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191">
              <a:extLst>
                <a:ext uri="{FF2B5EF4-FFF2-40B4-BE49-F238E27FC236}">
                  <a16:creationId xmlns:a16="http://schemas.microsoft.com/office/drawing/2014/main" id="{203455B3-B394-4ACB-A3B8-B7AD9AF1D42C}"/>
                </a:ext>
              </a:extLst>
            </p:cNvPr>
            <p:cNvSpPr>
              <a:spLocks noEditPoints="1"/>
            </p:cNvSpPr>
            <p:nvPr/>
          </p:nvSpPr>
          <p:spPr bwMode="auto">
            <a:xfrm>
              <a:off x="3233738" y="7232650"/>
              <a:ext cx="84137" cy="236538"/>
            </a:xfrm>
            <a:custGeom>
              <a:avLst/>
              <a:gdLst>
                <a:gd name="T0" fmla="*/ 8 w 36"/>
                <a:gd name="T1" fmla="*/ 102 h 102"/>
                <a:gd name="T2" fmla="*/ 28 w 36"/>
                <a:gd name="T3" fmla="*/ 102 h 102"/>
                <a:gd name="T4" fmla="*/ 36 w 36"/>
                <a:gd name="T5" fmla="*/ 94 h 102"/>
                <a:gd name="T6" fmla="*/ 36 w 36"/>
                <a:gd name="T7" fmla="*/ 8 h 102"/>
                <a:gd name="T8" fmla="*/ 28 w 36"/>
                <a:gd name="T9" fmla="*/ 0 h 102"/>
                <a:gd name="T10" fmla="*/ 8 w 36"/>
                <a:gd name="T11" fmla="*/ 0 h 102"/>
                <a:gd name="T12" fmla="*/ 0 w 36"/>
                <a:gd name="T13" fmla="*/ 8 h 102"/>
                <a:gd name="T14" fmla="*/ 0 w 36"/>
                <a:gd name="T15" fmla="*/ 94 h 102"/>
                <a:gd name="T16" fmla="*/ 8 w 36"/>
                <a:gd name="T17" fmla="*/ 102 h 102"/>
                <a:gd name="T18" fmla="*/ 10 w 36"/>
                <a:gd name="T19" fmla="*/ 10 h 102"/>
                <a:gd name="T20" fmla="*/ 26 w 36"/>
                <a:gd name="T21" fmla="*/ 10 h 102"/>
                <a:gd name="T22" fmla="*/ 26 w 36"/>
                <a:gd name="T23" fmla="*/ 92 h 102"/>
                <a:gd name="T24" fmla="*/ 10 w 36"/>
                <a:gd name="T25" fmla="*/ 92 h 102"/>
                <a:gd name="T26" fmla="*/ 10 w 36"/>
                <a:gd name="T27" fmla="*/ 1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102">
                  <a:moveTo>
                    <a:pt x="8" y="102"/>
                  </a:moveTo>
                  <a:cubicBezTo>
                    <a:pt x="28" y="102"/>
                    <a:pt x="28" y="102"/>
                    <a:pt x="28" y="102"/>
                  </a:cubicBezTo>
                  <a:cubicBezTo>
                    <a:pt x="32" y="102"/>
                    <a:pt x="36" y="99"/>
                    <a:pt x="36" y="94"/>
                  </a:cubicBezTo>
                  <a:cubicBezTo>
                    <a:pt x="36" y="8"/>
                    <a:pt x="36" y="8"/>
                    <a:pt x="36" y="8"/>
                  </a:cubicBezTo>
                  <a:cubicBezTo>
                    <a:pt x="36" y="4"/>
                    <a:pt x="32" y="0"/>
                    <a:pt x="28" y="0"/>
                  </a:cubicBezTo>
                  <a:cubicBezTo>
                    <a:pt x="8" y="0"/>
                    <a:pt x="8" y="0"/>
                    <a:pt x="8" y="0"/>
                  </a:cubicBezTo>
                  <a:cubicBezTo>
                    <a:pt x="3" y="0"/>
                    <a:pt x="0" y="4"/>
                    <a:pt x="0" y="8"/>
                  </a:cubicBezTo>
                  <a:cubicBezTo>
                    <a:pt x="0" y="94"/>
                    <a:pt x="0" y="94"/>
                    <a:pt x="0" y="94"/>
                  </a:cubicBezTo>
                  <a:cubicBezTo>
                    <a:pt x="0" y="99"/>
                    <a:pt x="3" y="102"/>
                    <a:pt x="8" y="102"/>
                  </a:cubicBezTo>
                  <a:close/>
                  <a:moveTo>
                    <a:pt x="10" y="10"/>
                  </a:moveTo>
                  <a:cubicBezTo>
                    <a:pt x="26" y="10"/>
                    <a:pt x="26" y="10"/>
                    <a:pt x="26" y="10"/>
                  </a:cubicBezTo>
                  <a:cubicBezTo>
                    <a:pt x="26" y="92"/>
                    <a:pt x="26" y="92"/>
                    <a:pt x="26" y="92"/>
                  </a:cubicBezTo>
                  <a:cubicBezTo>
                    <a:pt x="10" y="92"/>
                    <a:pt x="10" y="92"/>
                    <a:pt x="10" y="92"/>
                  </a:cubicBezTo>
                  <a:lnTo>
                    <a:pt x="10" y="10"/>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192">
              <a:extLst>
                <a:ext uri="{FF2B5EF4-FFF2-40B4-BE49-F238E27FC236}">
                  <a16:creationId xmlns:a16="http://schemas.microsoft.com/office/drawing/2014/main" id="{075DA063-F4D4-4AAC-83A2-E86194A53B99}"/>
                </a:ext>
              </a:extLst>
            </p:cNvPr>
            <p:cNvSpPr>
              <a:spLocks/>
            </p:cNvSpPr>
            <p:nvPr/>
          </p:nvSpPr>
          <p:spPr bwMode="auto">
            <a:xfrm>
              <a:off x="3051175" y="7218363"/>
              <a:ext cx="122237" cy="120650"/>
            </a:xfrm>
            <a:custGeom>
              <a:avLst/>
              <a:gdLst>
                <a:gd name="T0" fmla="*/ 6 w 53"/>
                <a:gd name="T1" fmla="*/ 52 h 52"/>
                <a:gd name="T2" fmla="*/ 9 w 53"/>
                <a:gd name="T3" fmla="*/ 51 h 52"/>
                <a:gd name="T4" fmla="*/ 43 w 53"/>
                <a:gd name="T5" fmla="*/ 17 h 52"/>
                <a:gd name="T6" fmla="*/ 43 w 53"/>
                <a:gd name="T7" fmla="*/ 25 h 52"/>
                <a:gd name="T8" fmla="*/ 48 w 53"/>
                <a:gd name="T9" fmla="*/ 30 h 52"/>
                <a:gd name="T10" fmla="*/ 53 w 53"/>
                <a:gd name="T11" fmla="*/ 25 h 52"/>
                <a:gd name="T12" fmla="*/ 53 w 53"/>
                <a:gd name="T13" fmla="*/ 5 h 52"/>
                <a:gd name="T14" fmla="*/ 53 w 53"/>
                <a:gd name="T15" fmla="*/ 3 h 52"/>
                <a:gd name="T16" fmla="*/ 50 w 53"/>
                <a:gd name="T17" fmla="*/ 0 h 52"/>
                <a:gd name="T18" fmla="*/ 48 w 53"/>
                <a:gd name="T19" fmla="*/ 0 h 52"/>
                <a:gd name="T20" fmla="*/ 28 w 53"/>
                <a:gd name="T21" fmla="*/ 0 h 52"/>
                <a:gd name="T22" fmla="*/ 23 w 53"/>
                <a:gd name="T23" fmla="*/ 5 h 52"/>
                <a:gd name="T24" fmla="*/ 28 w 53"/>
                <a:gd name="T25" fmla="*/ 10 h 52"/>
                <a:gd name="T26" fmla="*/ 36 w 53"/>
                <a:gd name="T27" fmla="*/ 10 h 52"/>
                <a:gd name="T28" fmla="*/ 2 w 53"/>
                <a:gd name="T29" fmla="*/ 44 h 52"/>
                <a:gd name="T30" fmla="*/ 2 w 53"/>
                <a:gd name="T31" fmla="*/ 51 h 52"/>
                <a:gd name="T32" fmla="*/ 6 w 53"/>
                <a:gd name="T33"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52">
                  <a:moveTo>
                    <a:pt x="6" y="52"/>
                  </a:moveTo>
                  <a:cubicBezTo>
                    <a:pt x="7" y="52"/>
                    <a:pt x="8" y="52"/>
                    <a:pt x="9" y="51"/>
                  </a:cubicBezTo>
                  <a:cubicBezTo>
                    <a:pt x="43" y="17"/>
                    <a:pt x="43" y="17"/>
                    <a:pt x="43" y="17"/>
                  </a:cubicBezTo>
                  <a:cubicBezTo>
                    <a:pt x="43" y="25"/>
                    <a:pt x="43" y="25"/>
                    <a:pt x="43" y="25"/>
                  </a:cubicBezTo>
                  <a:cubicBezTo>
                    <a:pt x="43" y="28"/>
                    <a:pt x="45" y="30"/>
                    <a:pt x="48" y="30"/>
                  </a:cubicBezTo>
                  <a:cubicBezTo>
                    <a:pt x="51" y="30"/>
                    <a:pt x="53" y="28"/>
                    <a:pt x="53" y="25"/>
                  </a:cubicBezTo>
                  <a:cubicBezTo>
                    <a:pt x="53" y="5"/>
                    <a:pt x="53" y="5"/>
                    <a:pt x="53" y="5"/>
                  </a:cubicBezTo>
                  <a:cubicBezTo>
                    <a:pt x="53" y="4"/>
                    <a:pt x="53" y="4"/>
                    <a:pt x="53" y="3"/>
                  </a:cubicBezTo>
                  <a:cubicBezTo>
                    <a:pt x="52" y="2"/>
                    <a:pt x="51" y="1"/>
                    <a:pt x="50" y="0"/>
                  </a:cubicBezTo>
                  <a:cubicBezTo>
                    <a:pt x="49" y="0"/>
                    <a:pt x="49" y="0"/>
                    <a:pt x="48" y="0"/>
                  </a:cubicBezTo>
                  <a:cubicBezTo>
                    <a:pt x="28" y="0"/>
                    <a:pt x="28" y="0"/>
                    <a:pt x="28" y="0"/>
                  </a:cubicBezTo>
                  <a:cubicBezTo>
                    <a:pt x="25" y="0"/>
                    <a:pt x="23" y="2"/>
                    <a:pt x="23" y="5"/>
                  </a:cubicBezTo>
                  <a:cubicBezTo>
                    <a:pt x="23" y="8"/>
                    <a:pt x="25" y="10"/>
                    <a:pt x="28" y="10"/>
                  </a:cubicBezTo>
                  <a:cubicBezTo>
                    <a:pt x="36" y="10"/>
                    <a:pt x="36" y="10"/>
                    <a:pt x="36" y="10"/>
                  </a:cubicBezTo>
                  <a:cubicBezTo>
                    <a:pt x="2" y="44"/>
                    <a:pt x="2" y="44"/>
                    <a:pt x="2" y="44"/>
                  </a:cubicBezTo>
                  <a:cubicBezTo>
                    <a:pt x="0" y="46"/>
                    <a:pt x="0" y="49"/>
                    <a:pt x="2" y="51"/>
                  </a:cubicBezTo>
                  <a:cubicBezTo>
                    <a:pt x="3" y="52"/>
                    <a:pt x="4" y="52"/>
                    <a:pt x="6" y="5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5" name="Rectangle 44">
            <a:extLst>
              <a:ext uri="{FF2B5EF4-FFF2-40B4-BE49-F238E27FC236}">
                <a16:creationId xmlns:a16="http://schemas.microsoft.com/office/drawing/2014/main" id="{CE4BD964-8D21-4B09-A61F-DC53D4BA179E}"/>
              </a:ext>
            </a:extLst>
          </p:cNvPr>
          <p:cNvSpPr>
            <a:spLocks/>
          </p:cNvSpPr>
          <p:nvPr/>
        </p:nvSpPr>
        <p:spPr>
          <a:xfrm>
            <a:off x="754658" y="1838664"/>
            <a:ext cx="2418852" cy="3950838"/>
          </a:xfrm>
          <a:prstGeom prst="rect">
            <a:avLst/>
          </a:prstGeom>
          <a:noFill/>
          <a:ln w="28575" cap="flat">
            <a:solidFill>
              <a:srgbClr val="00206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Open Sans"/>
              <a:cs typeface="Open Sans"/>
              <a:sym typeface="Open Sans"/>
            </a:endParaRPr>
          </a:p>
        </p:txBody>
      </p:sp>
      <p:sp>
        <p:nvSpPr>
          <p:cNvPr id="46" name="Rectangle 45">
            <a:extLst>
              <a:ext uri="{FF2B5EF4-FFF2-40B4-BE49-F238E27FC236}">
                <a16:creationId xmlns:a16="http://schemas.microsoft.com/office/drawing/2014/main" id="{FC955F57-8A04-4048-B90E-253162E0180D}"/>
              </a:ext>
            </a:extLst>
          </p:cNvPr>
          <p:cNvSpPr>
            <a:spLocks noChangeAspect="1"/>
          </p:cNvSpPr>
          <p:nvPr/>
        </p:nvSpPr>
        <p:spPr>
          <a:xfrm>
            <a:off x="754658" y="1554624"/>
            <a:ext cx="2418852" cy="431450"/>
          </a:xfrm>
          <a:prstGeom prst="rect">
            <a:avLst/>
          </a:prstGeom>
          <a:solidFill>
            <a:srgbClr val="002060"/>
          </a:solidFill>
          <a:ln w="28575">
            <a:solidFill>
              <a:srgbClr val="002060"/>
            </a:solidFill>
          </a:ln>
          <a:effectLst/>
        </p:spPr>
        <p:style>
          <a:lnRef idx="0">
            <a:schemeClr val="accent1"/>
          </a:lnRef>
          <a:fillRef idx="3">
            <a:schemeClr val="accent1"/>
          </a:fillRef>
          <a:effectRef idx="3">
            <a:schemeClr val="accent1"/>
          </a:effectRef>
          <a:fontRef idx="minor">
            <a:schemeClr val="lt1"/>
          </a:fontRef>
        </p:style>
        <p:txBody>
          <a:bodyPr lIns="18288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a:ea typeface="Open Sans Extrabold" charset="0"/>
                <a:cs typeface="Open Sans Extrabold" charset="0"/>
              </a:rPr>
              <a:t>What is the NCSR?</a:t>
            </a:r>
          </a:p>
        </p:txBody>
      </p:sp>
      <p:sp>
        <p:nvSpPr>
          <p:cNvPr id="57" name="Text Placeholder 2">
            <a:extLst>
              <a:ext uri="{FF2B5EF4-FFF2-40B4-BE49-F238E27FC236}">
                <a16:creationId xmlns:a16="http://schemas.microsoft.com/office/drawing/2014/main" id="{6EC6085C-ABE8-4841-A459-245FB9B78237}"/>
              </a:ext>
            </a:extLst>
          </p:cNvPr>
          <p:cNvSpPr txBox="1">
            <a:spLocks/>
          </p:cNvSpPr>
          <p:nvPr/>
        </p:nvSpPr>
        <p:spPr>
          <a:xfrm>
            <a:off x="817049" y="2102205"/>
            <a:ext cx="2294068" cy="3044454"/>
          </a:xfrm>
          <a:prstGeom prst="rect">
            <a:avLst/>
          </a:prstGeom>
        </p:spPr>
        <p:txBody>
          <a:bodyPr vert="horz" lIns="45720" tIns="0" rIns="0" bIns="0" rtlCol="0" anchor="t">
            <a:noAutofit/>
          </a:bodyPr>
          <a:lstStyle>
            <a:lvl1pPr marL="0" indent="0" algn="l" defTabSz="1219170" rtl="0" eaLnBrk="1" latinLnBrk="0" hangingPunct="1">
              <a:spcBef>
                <a:spcPts val="0"/>
              </a:spcBef>
              <a:spcAft>
                <a:spcPts val="1333"/>
              </a:spcAft>
              <a:buSzPct val="100000"/>
              <a:buFontTx/>
              <a:buNone/>
              <a:defRPr sz="12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25000"/>
              </a:lnSpc>
              <a:spcBef>
                <a:spcPts val="0"/>
              </a:spcBef>
              <a:spcAft>
                <a:spcPts val="1200"/>
              </a:spcAft>
              <a:buClrTx/>
              <a:buSzPct val="100000"/>
              <a:buFontTx/>
              <a:buNone/>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Verdana"/>
                <a:cs typeface="+mn-cs"/>
              </a:rPr>
              <a:t>The NCSR is a </a:t>
            </a:r>
            <a:r>
              <a:rPr kumimoji="0" lang="en-US" b="1" i="0" u="none" strike="noStrike" kern="1200" cap="none" spc="0" normalizeH="0" baseline="0" noProof="0" dirty="0">
                <a:ln>
                  <a:noFill/>
                </a:ln>
                <a:solidFill>
                  <a:prstClr val="black"/>
                </a:solidFill>
                <a:effectLst/>
                <a:uLnTx/>
                <a:uFillTx/>
                <a:latin typeface="Calibri" panose="020F0502020204030204"/>
                <a:ea typeface="Verdana"/>
                <a:cs typeface="+mn-cs"/>
              </a:rPr>
              <a:t>no-cost, anonymous, annual self-assessment </a:t>
            </a:r>
            <a:r>
              <a:rPr kumimoji="0" lang="en-US" b="0" i="0" u="none" strike="noStrike" kern="1200" cap="none" spc="0" normalizeH="0" baseline="0" noProof="0" dirty="0">
                <a:ln>
                  <a:noFill/>
                </a:ln>
                <a:solidFill>
                  <a:prstClr val="black"/>
                </a:solidFill>
                <a:effectLst/>
                <a:uLnTx/>
                <a:uFillTx/>
                <a:latin typeface="Calibri" panose="020F0502020204030204"/>
                <a:ea typeface="Verdana"/>
                <a:cs typeface="+mn-cs"/>
              </a:rPr>
              <a:t>to help organizations </a:t>
            </a:r>
            <a:r>
              <a:rPr kumimoji="0" lang="en-US" b="1" i="0" u="none" strike="noStrike" kern="1200" cap="none" spc="0" normalizeH="0" baseline="0" noProof="0" dirty="0">
                <a:ln>
                  <a:noFill/>
                </a:ln>
                <a:solidFill>
                  <a:prstClr val="black"/>
                </a:solidFill>
                <a:effectLst/>
                <a:uLnTx/>
                <a:uFillTx/>
                <a:latin typeface="Calibri" panose="020F0502020204030204"/>
                <a:ea typeface="Verdana"/>
                <a:cs typeface="+mn-cs"/>
              </a:rPr>
              <a:t>improve their cybersecurity maturity</a:t>
            </a:r>
            <a:r>
              <a:rPr kumimoji="0" lang="en-US" b="0" i="0" u="none" strike="noStrike" kern="1200" cap="none" spc="0" normalizeH="0" baseline="0" noProof="0" dirty="0">
                <a:ln>
                  <a:noFill/>
                </a:ln>
                <a:solidFill>
                  <a:prstClr val="black"/>
                </a:solidFill>
                <a:effectLst/>
                <a:uLnTx/>
                <a:uFillTx/>
                <a:latin typeface="Calibri" panose="020F0502020204030204"/>
                <a:ea typeface="Verdana"/>
                <a:cs typeface="+mn-cs"/>
              </a:rPr>
              <a:t>. </a:t>
            </a:r>
          </a:p>
          <a:p>
            <a:pPr marL="0" marR="0" lvl="0" indent="0" algn="l" defTabSz="1219170" rtl="0" eaLnBrk="1" fontAlgn="auto" latinLnBrk="0" hangingPunct="1">
              <a:lnSpc>
                <a:spcPct val="125000"/>
              </a:lnSpc>
              <a:spcBef>
                <a:spcPts val="0"/>
              </a:spcBef>
              <a:spcAft>
                <a:spcPts val="1200"/>
              </a:spcAft>
              <a:buClrTx/>
              <a:buSzPct val="100000"/>
              <a:buFontTx/>
              <a:buNone/>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Verdana"/>
                <a:cs typeface="+mn-cs"/>
              </a:rPr>
              <a:t>All state agencies, local governments (and departments), and educational institutions are encouraged to participate!</a:t>
            </a:r>
          </a:p>
          <a:p>
            <a:pPr marL="0" marR="0" lvl="0" indent="0" algn="l" defTabSz="1219170" rtl="0" eaLnBrk="1" fontAlgn="auto" latinLnBrk="0" hangingPunct="1">
              <a:lnSpc>
                <a:spcPct val="125000"/>
              </a:lnSpc>
              <a:spcBef>
                <a:spcPts val="0"/>
              </a:spcBef>
              <a:spcAft>
                <a:spcPts val="1200"/>
              </a:spcAft>
              <a:buClrTx/>
              <a:buSzPct val="100000"/>
              <a:buFontTx/>
              <a:buNone/>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Verdana"/>
                <a:cs typeface="+mn-cs"/>
              </a:rPr>
              <a:t>The </a:t>
            </a:r>
            <a:r>
              <a:rPr kumimoji="0" lang="en-US" b="1" i="0" u="none" strike="noStrike" kern="1200" cap="none" spc="0" normalizeH="0" baseline="0" noProof="0" dirty="0">
                <a:ln>
                  <a:noFill/>
                </a:ln>
                <a:solidFill>
                  <a:prstClr val="black"/>
                </a:solidFill>
                <a:effectLst/>
                <a:uLnTx/>
                <a:uFillTx/>
                <a:latin typeface="Calibri" panose="020F0502020204030204"/>
                <a:ea typeface="Verdana"/>
                <a:cs typeface="+mn-cs"/>
              </a:rPr>
              <a:t>Tennessee NCSR project </a:t>
            </a:r>
            <a:r>
              <a:rPr kumimoji="0" lang="en-US" b="0" i="0" u="none" strike="noStrike" kern="1200" cap="none" spc="0" normalizeH="0" baseline="0" noProof="0" dirty="0">
                <a:ln>
                  <a:noFill/>
                </a:ln>
                <a:solidFill>
                  <a:prstClr val="black"/>
                </a:solidFill>
                <a:effectLst/>
                <a:uLnTx/>
                <a:uFillTx/>
                <a:latin typeface="Calibri" panose="020F0502020204030204"/>
                <a:ea typeface="Verdana"/>
                <a:cs typeface="+mn-cs"/>
              </a:rPr>
              <a:t>is sponsored by the </a:t>
            </a:r>
            <a:r>
              <a:rPr kumimoji="0" lang="en-US" b="1" i="0" u="none" strike="noStrike" kern="1200" cap="none" spc="0" normalizeH="0" baseline="0" noProof="0" dirty="0">
                <a:ln>
                  <a:noFill/>
                </a:ln>
                <a:solidFill>
                  <a:prstClr val="black"/>
                </a:solidFill>
                <a:effectLst/>
                <a:uLnTx/>
                <a:uFillTx/>
                <a:latin typeface="Calibri" panose="020F0502020204030204"/>
                <a:ea typeface="Verdana"/>
                <a:cs typeface="+mn-cs"/>
              </a:rPr>
              <a:t>Governor’s Cyber Security Advisory Council </a:t>
            </a:r>
            <a:r>
              <a:rPr kumimoji="0" lang="en-US" b="0" i="0" u="none" strike="noStrike" kern="1200" cap="none" spc="0" normalizeH="0" baseline="0" noProof="0" dirty="0">
                <a:ln>
                  <a:noFill/>
                </a:ln>
                <a:solidFill>
                  <a:prstClr val="black"/>
                </a:solidFill>
                <a:effectLst/>
                <a:uLnTx/>
                <a:uFillTx/>
                <a:latin typeface="Calibri" panose="020F0502020204030204"/>
                <a:ea typeface="Verdana"/>
                <a:cs typeface="+mn-cs"/>
              </a:rPr>
              <a:t>and led by</a:t>
            </a:r>
            <a:r>
              <a:rPr kumimoji="0" lang="en-US" b="1" i="0" u="none" strike="noStrike" kern="1200" cap="none" spc="0" normalizeH="0" baseline="0" noProof="0" dirty="0">
                <a:ln>
                  <a:noFill/>
                </a:ln>
                <a:solidFill>
                  <a:prstClr val="black"/>
                </a:solidFill>
                <a:effectLst/>
                <a:uLnTx/>
                <a:uFillTx/>
                <a:latin typeface="Calibri" panose="020F0502020204030204"/>
                <a:ea typeface="Verdana"/>
                <a:cs typeface="+mn-cs"/>
              </a:rPr>
              <a:t> CIO Stephanie Dedmon </a:t>
            </a:r>
            <a:r>
              <a:rPr kumimoji="0" lang="en-US" b="0" i="0" u="none" strike="noStrike" kern="1200" cap="none" spc="0" normalizeH="0" baseline="0" noProof="0" dirty="0">
                <a:ln>
                  <a:noFill/>
                </a:ln>
                <a:solidFill>
                  <a:prstClr val="black"/>
                </a:solidFill>
                <a:effectLst/>
                <a:uLnTx/>
                <a:uFillTx/>
                <a:latin typeface="Calibri" panose="020F0502020204030204"/>
                <a:ea typeface="Verdana"/>
                <a:cs typeface="+mn-cs"/>
              </a:rPr>
              <a:t>and</a:t>
            </a:r>
            <a:r>
              <a:rPr kumimoji="0" lang="en-US" b="1" i="0" u="none" strike="noStrike" kern="1200" cap="none" spc="0" normalizeH="0" baseline="0" noProof="0" dirty="0">
                <a:ln>
                  <a:noFill/>
                </a:ln>
                <a:solidFill>
                  <a:prstClr val="black"/>
                </a:solidFill>
                <a:effectLst/>
                <a:uLnTx/>
                <a:uFillTx/>
                <a:latin typeface="Calibri" panose="020F0502020204030204"/>
                <a:ea typeface="Verdana"/>
                <a:cs typeface="+mn-cs"/>
              </a:rPr>
              <a:t> CISO Curtis Clan</a:t>
            </a:r>
            <a:r>
              <a:rPr kumimoji="0" lang="en-US" b="0" i="0" u="none" strike="noStrike" kern="1200" cap="none" spc="0" normalizeH="0" baseline="0" noProof="0" dirty="0">
                <a:ln>
                  <a:noFill/>
                </a:ln>
                <a:solidFill>
                  <a:prstClr val="black"/>
                </a:solidFill>
                <a:effectLst/>
                <a:uLnTx/>
                <a:uFillTx/>
                <a:latin typeface="Calibri" panose="020F0502020204030204"/>
                <a:ea typeface="Verdana"/>
                <a:cs typeface="+mn-cs"/>
              </a:rPr>
              <a:t>.</a:t>
            </a:r>
          </a:p>
          <a:p>
            <a:pPr marL="0" marR="0" lvl="0" indent="0" algn="l" defTabSz="1219170" rtl="0" eaLnBrk="1" fontAlgn="auto" latinLnBrk="0" hangingPunct="1">
              <a:lnSpc>
                <a:spcPct val="125000"/>
              </a:lnSpc>
              <a:spcBef>
                <a:spcPts val="0"/>
              </a:spcBef>
              <a:spcAft>
                <a:spcPts val="1333"/>
              </a:spcAft>
              <a:buClrTx/>
              <a:buSzPct val="100000"/>
              <a:buFontTx/>
              <a:buNone/>
              <a:tabLst/>
              <a:defRPr/>
            </a:pPr>
            <a:endParaRPr kumimoji="0" lang="en-US" sz="1400" b="0" i="0" u="none" strike="noStrike" kern="1200" cap="none" spc="0" normalizeH="0" baseline="0" noProof="0" dirty="0">
              <a:ln>
                <a:noFill/>
              </a:ln>
              <a:solidFill>
                <a:srgbClr val="0086BF"/>
              </a:solidFill>
              <a:effectLst/>
              <a:uLnTx/>
              <a:uFillTx/>
              <a:latin typeface="Calibri" panose="020F0502020204030204"/>
              <a:ea typeface="Verdana"/>
              <a:cs typeface="+mn-cs"/>
            </a:endParaRPr>
          </a:p>
        </p:txBody>
      </p:sp>
      <p:grpSp>
        <p:nvGrpSpPr>
          <p:cNvPr id="128" name="Group 127">
            <a:extLst>
              <a:ext uri="{FF2B5EF4-FFF2-40B4-BE49-F238E27FC236}">
                <a16:creationId xmlns:a16="http://schemas.microsoft.com/office/drawing/2014/main" id="{7EE6C234-6615-4859-8067-7B7469774CFB}"/>
              </a:ext>
            </a:extLst>
          </p:cNvPr>
          <p:cNvGrpSpPr/>
          <p:nvPr/>
        </p:nvGrpSpPr>
        <p:grpSpPr>
          <a:xfrm>
            <a:off x="464925" y="1447800"/>
            <a:ext cx="655788" cy="645097"/>
            <a:chOff x="1627942" y="1556489"/>
            <a:chExt cx="619770" cy="619770"/>
          </a:xfrm>
        </p:grpSpPr>
        <p:sp>
          <p:nvSpPr>
            <p:cNvPr id="129" name="Oval 128">
              <a:extLst>
                <a:ext uri="{FF2B5EF4-FFF2-40B4-BE49-F238E27FC236}">
                  <a16:creationId xmlns:a16="http://schemas.microsoft.com/office/drawing/2014/main" id="{B351F040-6687-42A2-9375-4502C482ED24}"/>
                </a:ext>
              </a:extLst>
            </p:cNvPr>
            <p:cNvSpPr/>
            <p:nvPr/>
          </p:nvSpPr>
          <p:spPr>
            <a:xfrm>
              <a:off x="1627942" y="1556489"/>
              <a:ext cx="619770" cy="619770"/>
            </a:xfrm>
            <a:prstGeom prst="ellipse">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n-ea"/>
                <a:cs typeface="+mn-cs"/>
              </a:endParaRPr>
            </a:p>
          </p:txBody>
        </p:sp>
        <p:sp>
          <p:nvSpPr>
            <p:cNvPr id="130" name="Freeform 11">
              <a:extLst>
                <a:ext uri="{FF2B5EF4-FFF2-40B4-BE49-F238E27FC236}">
                  <a16:creationId xmlns:a16="http://schemas.microsoft.com/office/drawing/2014/main" id="{0AA87E60-424D-49DE-818F-6FBA1246DF95}"/>
                </a:ext>
              </a:extLst>
            </p:cNvPr>
            <p:cNvSpPr>
              <a:spLocks noEditPoints="1"/>
            </p:cNvSpPr>
            <p:nvPr/>
          </p:nvSpPr>
          <p:spPr bwMode="auto">
            <a:xfrm>
              <a:off x="1652733" y="1582313"/>
              <a:ext cx="570188" cy="568123"/>
            </a:xfrm>
            <a:custGeom>
              <a:avLst/>
              <a:gdLst>
                <a:gd name="T0" fmla="*/ 312 w 658"/>
                <a:gd name="T1" fmla="*/ 658 h 658"/>
                <a:gd name="T2" fmla="*/ 262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6 h 658"/>
                <a:gd name="T24" fmla="*/ 172 w 658"/>
                <a:gd name="T25" fmla="*/ 40 h 658"/>
                <a:gd name="T26" fmla="*/ 247 w 658"/>
                <a:gd name="T27" fmla="*/ 10 h 658"/>
                <a:gd name="T28" fmla="*/ 296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2 w 658"/>
                <a:gd name="T41" fmla="*/ 201 h 658"/>
                <a:gd name="T42" fmla="*/ 652 w 658"/>
                <a:gd name="T43" fmla="*/ 263 h 658"/>
                <a:gd name="T44" fmla="*/ 657 w 658"/>
                <a:gd name="T45" fmla="*/ 313 h 658"/>
                <a:gd name="T46" fmla="*/ 657 w 658"/>
                <a:gd name="T47" fmla="*/ 346 h 658"/>
                <a:gd name="T48" fmla="*/ 652 w 658"/>
                <a:gd name="T49" fmla="*/ 396 h 658"/>
                <a:gd name="T50" fmla="*/ 632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7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7 w 658"/>
                <a:gd name="T81" fmla="*/ 571 h 658"/>
                <a:gd name="T82" fmla="*/ 242 w 658"/>
                <a:gd name="T83" fmla="*/ 607 h 658"/>
                <a:gd name="T84" fmla="*/ 329 w 658"/>
                <a:gd name="T85" fmla="*/ 621 h 658"/>
                <a:gd name="T86" fmla="*/ 387 w 658"/>
                <a:gd name="T87" fmla="*/ 615 h 658"/>
                <a:gd name="T88" fmla="*/ 468 w 658"/>
                <a:gd name="T89" fmla="*/ 586 h 658"/>
                <a:gd name="T90" fmla="*/ 535 w 658"/>
                <a:gd name="T91" fmla="*/ 535 h 658"/>
                <a:gd name="T92" fmla="*/ 585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2" y="652"/>
                  </a:lnTo>
                  <a:lnTo>
                    <a:pt x="247" y="648"/>
                  </a:lnTo>
                  <a:lnTo>
                    <a:pt x="231" y="644"/>
                  </a:lnTo>
                  <a:lnTo>
                    <a:pt x="202" y="633"/>
                  </a:lnTo>
                  <a:lnTo>
                    <a:pt x="172" y="618"/>
                  </a:lnTo>
                  <a:lnTo>
                    <a:pt x="145" y="602"/>
                  </a:lnTo>
                  <a:lnTo>
                    <a:pt x="120" y="583"/>
                  </a:lnTo>
                  <a:lnTo>
                    <a:pt x="97" y="562"/>
                  </a:lnTo>
                  <a:lnTo>
                    <a:pt x="75" y="539"/>
                  </a:lnTo>
                  <a:lnTo>
                    <a:pt x="56" y="513"/>
                  </a:lnTo>
                  <a:lnTo>
                    <a:pt x="40" y="486"/>
                  </a:lnTo>
                  <a:lnTo>
                    <a:pt x="25" y="457"/>
                  </a:lnTo>
                  <a:lnTo>
                    <a:pt x="15" y="427"/>
                  </a:lnTo>
                  <a:lnTo>
                    <a:pt x="11" y="411"/>
                  </a:lnTo>
                  <a:lnTo>
                    <a:pt x="7" y="396"/>
                  </a:lnTo>
                  <a:lnTo>
                    <a:pt x="4" y="379"/>
                  </a:lnTo>
                  <a:lnTo>
                    <a:pt x="1" y="363"/>
                  </a:lnTo>
                  <a:lnTo>
                    <a:pt x="0" y="346"/>
                  </a:lnTo>
                  <a:lnTo>
                    <a:pt x="0" y="329"/>
                  </a:lnTo>
                  <a:lnTo>
                    <a:pt x="0" y="329"/>
                  </a:lnTo>
                  <a:lnTo>
                    <a:pt x="0" y="313"/>
                  </a:lnTo>
                  <a:lnTo>
                    <a:pt x="1" y="295"/>
                  </a:lnTo>
                  <a:lnTo>
                    <a:pt x="4" y="279"/>
                  </a:lnTo>
                  <a:lnTo>
                    <a:pt x="7" y="263"/>
                  </a:lnTo>
                  <a:lnTo>
                    <a:pt x="11" y="247"/>
                  </a:lnTo>
                  <a:lnTo>
                    <a:pt x="15" y="232"/>
                  </a:lnTo>
                  <a:lnTo>
                    <a:pt x="25" y="201"/>
                  </a:lnTo>
                  <a:lnTo>
                    <a:pt x="40" y="173"/>
                  </a:lnTo>
                  <a:lnTo>
                    <a:pt x="56" y="145"/>
                  </a:lnTo>
                  <a:lnTo>
                    <a:pt x="75" y="121"/>
                  </a:lnTo>
                  <a:lnTo>
                    <a:pt x="97" y="96"/>
                  </a:lnTo>
                  <a:lnTo>
                    <a:pt x="120" y="75"/>
                  </a:lnTo>
                  <a:lnTo>
                    <a:pt x="145" y="56"/>
                  </a:lnTo>
                  <a:lnTo>
                    <a:pt x="172" y="40"/>
                  </a:lnTo>
                  <a:lnTo>
                    <a:pt x="202" y="27"/>
                  </a:lnTo>
                  <a:lnTo>
                    <a:pt x="231" y="16"/>
                  </a:lnTo>
                  <a:lnTo>
                    <a:pt x="247" y="10"/>
                  </a:lnTo>
                  <a:lnTo>
                    <a:pt x="262" y="6"/>
                  </a:lnTo>
                  <a:lnTo>
                    <a:pt x="279" y="4"/>
                  </a:lnTo>
                  <a:lnTo>
                    <a:pt x="296" y="2"/>
                  </a:lnTo>
                  <a:lnTo>
                    <a:pt x="312" y="1"/>
                  </a:lnTo>
                  <a:lnTo>
                    <a:pt x="329" y="0"/>
                  </a:lnTo>
                  <a:lnTo>
                    <a:pt x="329" y="0"/>
                  </a:lnTo>
                  <a:lnTo>
                    <a:pt x="345" y="1"/>
                  </a:lnTo>
                  <a:lnTo>
                    <a:pt x="363" y="2"/>
                  </a:lnTo>
                  <a:lnTo>
                    <a:pt x="379" y="4"/>
                  </a:lnTo>
                  <a:lnTo>
                    <a:pt x="395" y="6"/>
                  </a:lnTo>
                  <a:lnTo>
                    <a:pt x="411" y="10"/>
                  </a:lnTo>
                  <a:lnTo>
                    <a:pt x="426" y="16"/>
                  </a:lnTo>
                  <a:lnTo>
                    <a:pt x="457" y="27"/>
                  </a:lnTo>
                  <a:lnTo>
                    <a:pt x="485" y="40"/>
                  </a:lnTo>
                  <a:lnTo>
                    <a:pt x="513" y="56"/>
                  </a:lnTo>
                  <a:lnTo>
                    <a:pt x="538" y="75"/>
                  </a:lnTo>
                  <a:lnTo>
                    <a:pt x="562" y="96"/>
                  </a:lnTo>
                  <a:lnTo>
                    <a:pt x="583" y="121"/>
                  </a:lnTo>
                  <a:lnTo>
                    <a:pt x="602" y="145"/>
                  </a:lnTo>
                  <a:lnTo>
                    <a:pt x="618" y="173"/>
                  </a:lnTo>
                  <a:lnTo>
                    <a:pt x="632" y="201"/>
                  </a:lnTo>
                  <a:lnTo>
                    <a:pt x="644" y="232"/>
                  </a:lnTo>
                  <a:lnTo>
                    <a:pt x="648" y="247"/>
                  </a:lnTo>
                  <a:lnTo>
                    <a:pt x="652" y="263"/>
                  </a:lnTo>
                  <a:lnTo>
                    <a:pt x="654" y="279"/>
                  </a:lnTo>
                  <a:lnTo>
                    <a:pt x="656" y="295"/>
                  </a:lnTo>
                  <a:lnTo>
                    <a:pt x="657" y="313"/>
                  </a:lnTo>
                  <a:lnTo>
                    <a:pt x="658" y="329"/>
                  </a:lnTo>
                  <a:lnTo>
                    <a:pt x="658" y="329"/>
                  </a:lnTo>
                  <a:lnTo>
                    <a:pt x="657" y="346"/>
                  </a:lnTo>
                  <a:lnTo>
                    <a:pt x="656" y="363"/>
                  </a:lnTo>
                  <a:lnTo>
                    <a:pt x="654" y="379"/>
                  </a:lnTo>
                  <a:lnTo>
                    <a:pt x="652" y="396"/>
                  </a:lnTo>
                  <a:lnTo>
                    <a:pt x="648" y="411"/>
                  </a:lnTo>
                  <a:lnTo>
                    <a:pt x="644" y="427"/>
                  </a:lnTo>
                  <a:lnTo>
                    <a:pt x="632" y="457"/>
                  </a:lnTo>
                  <a:lnTo>
                    <a:pt x="618" y="486"/>
                  </a:lnTo>
                  <a:lnTo>
                    <a:pt x="602" y="513"/>
                  </a:lnTo>
                  <a:lnTo>
                    <a:pt x="583" y="539"/>
                  </a:lnTo>
                  <a:lnTo>
                    <a:pt x="562" y="562"/>
                  </a:lnTo>
                  <a:lnTo>
                    <a:pt x="538" y="583"/>
                  </a:lnTo>
                  <a:lnTo>
                    <a:pt x="513"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300" y="40"/>
                  </a:lnTo>
                  <a:lnTo>
                    <a:pt x="270" y="44"/>
                  </a:lnTo>
                  <a:lnTo>
                    <a:pt x="242" y="51"/>
                  </a:lnTo>
                  <a:lnTo>
                    <a:pt x="215" y="62"/>
                  </a:lnTo>
                  <a:lnTo>
                    <a:pt x="191" y="74"/>
                  </a:lnTo>
                  <a:lnTo>
                    <a:pt x="167" y="88"/>
                  </a:lnTo>
                  <a:lnTo>
                    <a:pt x="144" y="105"/>
                  </a:lnTo>
                  <a:lnTo>
                    <a:pt x="124" y="123"/>
                  </a:lnTo>
                  <a:lnTo>
                    <a:pt x="105" y="144"/>
                  </a:lnTo>
                  <a:lnTo>
                    <a:pt x="87" y="166"/>
                  </a:lnTo>
                  <a:lnTo>
                    <a:pt x="73" y="191"/>
                  </a:lnTo>
                  <a:lnTo>
                    <a:pt x="60" y="216"/>
                  </a:lnTo>
                  <a:lnTo>
                    <a:pt x="51" y="243"/>
                  </a:lnTo>
                  <a:lnTo>
                    <a:pt x="43" y="271"/>
                  </a:lnTo>
                  <a:lnTo>
                    <a:pt x="39" y="299"/>
                  </a:lnTo>
                  <a:lnTo>
                    <a:pt x="38" y="329"/>
                  </a:lnTo>
                  <a:lnTo>
                    <a:pt x="38" y="329"/>
                  </a:lnTo>
                  <a:lnTo>
                    <a:pt x="39" y="359"/>
                  </a:lnTo>
                  <a:lnTo>
                    <a:pt x="43" y="388"/>
                  </a:lnTo>
                  <a:lnTo>
                    <a:pt x="51" y="416"/>
                  </a:lnTo>
                  <a:lnTo>
                    <a:pt x="60" y="443"/>
                  </a:lnTo>
                  <a:lnTo>
                    <a:pt x="73" y="467"/>
                  </a:lnTo>
                  <a:lnTo>
                    <a:pt x="87"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7" y="416"/>
                  </a:lnTo>
                  <a:lnTo>
                    <a:pt x="614" y="388"/>
                  </a:lnTo>
                  <a:lnTo>
                    <a:pt x="618" y="359"/>
                  </a:lnTo>
                  <a:lnTo>
                    <a:pt x="621" y="329"/>
                  </a:lnTo>
                  <a:lnTo>
                    <a:pt x="621" y="329"/>
                  </a:lnTo>
                  <a:lnTo>
                    <a:pt x="618" y="299"/>
                  </a:lnTo>
                  <a:lnTo>
                    <a:pt x="614" y="271"/>
                  </a:lnTo>
                  <a:lnTo>
                    <a:pt x="607" y="243"/>
                  </a:lnTo>
                  <a:lnTo>
                    <a:pt x="597" y="216"/>
                  </a:lnTo>
                  <a:lnTo>
                    <a:pt x="585" y="191"/>
                  </a:lnTo>
                  <a:lnTo>
                    <a:pt x="570" y="166"/>
                  </a:lnTo>
                  <a:lnTo>
                    <a:pt x="554" y="144"/>
                  </a:lnTo>
                  <a:lnTo>
                    <a:pt x="535" y="123"/>
                  </a:lnTo>
                  <a:lnTo>
                    <a:pt x="515" y="105"/>
                  </a:lnTo>
                  <a:lnTo>
                    <a:pt x="492" y="88"/>
                  </a:lnTo>
                  <a:lnTo>
                    <a:pt x="468" y="74"/>
                  </a:lnTo>
                  <a:lnTo>
                    <a:pt x="442" y="62"/>
                  </a:lnTo>
                  <a:lnTo>
                    <a:pt x="415" y="51"/>
                  </a:lnTo>
                  <a:lnTo>
                    <a:pt x="387" y="44"/>
                  </a:lnTo>
                  <a:lnTo>
                    <a:pt x="359" y="40"/>
                  </a:lnTo>
                  <a:lnTo>
                    <a:pt x="329" y="37"/>
                  </a:lnTo>
                  <a:lnTo>
                    <a:pt x="329" y="37"/>
                  </a:lnTo>
                  <a:close/>
                </a:path>
              </a:pathLst>
            </a:custGeom>
            <a:solidFill>
              <a:srgbClr val="364C7D"/>
            </a:solidFill>
            <a:ln>
              <a:solidFill>
                <a:srgbClr val="052669"/>
              </a:solid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n-ea"/>
                <a:cs typeface="+mn-cs"/>
              </a:endParaRPr>
            </a:p>
          </p:txBody>
        </p:sp>
      </p:grpSp>
      <p:pic>
        <p:nvPicPr>
          <p:cNvPr id="105" name="Picture 104" descr="Graphical user interface, application&#10;&#10;Description automatically generated">
            <a:extLst>
              <a:ext uri="{FF2B5EF4-FFF2-40B4-BE49-F238E27FC236}">
                <a16:creationId xmlns:a16="http://schemas.microsoft.com/office/drawing/2014/main" id="{BFE7BC80-D027-4189-B6E4-23E831D5FCB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0700" y="1711341"/>
            <a:ext cx="483770" cy="118015"/>
          </a:xfrm>
          <a:prstGeom prst="rect">
            <a:avLst/>
          </a:prstGeom>
        </p:spPr>
      </p:pic>
      <p:sp>
        <p:nvSpPr>
          <p:cNvPr id="26" name="Rectangle 25">
            <a:extLst>
              <a:ext uri="{FF2B5EF4-FFF2-40B4-BE49-F238E27FC236}">
                <a16:creationId xmlns:a16="http://schemas.microsoft.com/office/drawing/2014/main" id="{6AE63D26-7547-4F6E-9522-5F5159C2A503}"/>
              </a:ext>
            </a:extLst>
          </p:cNvPr>
          <p:cNvSpPr>
            <a:spLocks/>
          </p:cNvSpPr>
          <p:nvPr/>
        </p:nvSpPr>
        <p:spPr>
          <a:xfrm>
            <a:off x="3664252" y="1825541"/>
            <a:ext cx="2355143" cy="3981686"/>
          </a:xfrm>
          <a:prstGeom prst="rect">
            <a:avLst/>
          </a:prstGeom>
          <a:noFill/>
          <a:ln w="28575" cap="flat">
            <a:solidFill>
              <a:srgbClr val="052669"/>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Open Sans"/>
              <a:cs typeface="Open Sans"/>
              <a:sym typeface="Open Sans"/>
            </a:endParaRPr>
          </a:p>
        </p:txBody>
      </p:sp>
      <p:sp>
        <p:nvSpPr>
          <p:cNvPr id="27" name="Rectangle 26">
            <a:extLst>
              <a:ext uri="{FF2B5EF4-FFF2-40B4-BE49-F238E27FC236}">
                <a16:creationId xmlns:a16="http://schemas.microsoft.com/office/drawing/2014/main" id="{A8806C75-92E7-4405-8DC0-788CFF1EBF0F}"/>
              </a:ext>
            </a:extLst>
          </p:cNvPr>
          <p:cNvSpPr>
            <a:spLocks noChangeAspect="1"/>
          </p:cNvSpPr>
          <p:nvPr/>
        </p:nvSpPr>
        <p:spPr>
          <a:xfrm>
            <a:off x="3664252" y="1554989"/>
            <a:ext cx="2355143" cy="429176"/>
          </a:xfrm>
          <a:prstGeom prst="rect">
            <a:avLst/>
          </a:prstGeom>
          <a:solidFill>
            <a:srgbClr val="002060"/>
          </a:solidFill>
          <a:ln w="28575">
            <a:solidFill>
              <a:srgbClr val="364C7D"/>
            </a:solidFill>
          </a:ln>
          <a:effectLst/>
        </p:spPr>
        <p:style>
          <a:lnRef idx="0">
            <a:schemeClr val="accent1"/>
          </a:lnRef>
          <a:fillRef idx="3">
            <a:schemeClr val="accent1"/>
          </a:fillRef>
          <a:effectRef idx="3">
            <a:schemeClr val="accent1"/>
          </a:effectRef>
          <a:fontRef idx="minor">
            <a:schemeClr val="lt1"/>
          </a:fontRef>
        </p:style>
        <p:txBody>
          <a:bodyPr lIns="182880" tIns="91440" r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Open Sans Extrabold" charset="0"/>
                <a:cs typeface="Open Sans Extrabold" charset="0"/>
              </a:rPr>
              <a:t>What is the Purpose of the NCSR?</a:t>
            </a:r>
          </a:p>
        </p:txBody>
      </p:sp>
      <p:sp>
        <p:nvSpPr>
          <p:cNvPr id="33" name="Oval 32">
            <a:extLst>
              <a:ext uri="{FF2B5EF4-FFF2-40B4-BE49-F238E27FC236}">
                <a16:creationId xmlns:a16="http://schemas.microsoft.com/office/drawing/2014/main" id="{C55DB4B9-D570-4BAA-B825-16F435DD5AB0}"/>
              </a:ext>
            </a:extLst>
          </p:cNvPr>
          <p:cNvSpPr/>
          <p:nvPr/>
        </p:nvSpPr>
        <p:spPr>
          <a:xfrm>
            <a:off x="3243408" y="1447800"/>
            <a:ext cx="622368" cy="615447"/>
          </a:xfrm>
          <a:prstGeom prst="ellipse">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Open Sans"/>
              <a:ea typeface="+mn-ea"/>
              <a:cs typeface="+mn-cs"/>
            </a:endParaRPr>
          </a:p>
        </p:txBody>
      </p:sp>
      <p:sp>
        <p:nvSpPr>
          <p:cNvPr id="58" name="TextBox 57">
            <a:extLst>
              <a:ext uri="{FF2B5EF4-FFF2-40B4-BE49-F238E27FC236}">
                <a16:creationId xmlns:a16="http://schemas.microsoft.com/office/drawing/2014/main" id="{DFDF0B6B-0832-4F7A-8558-42CCB1673EBA}"/>
              </a:ext>
            </a:extLst>
          </p:cNvPr>
          <p:cNvSpPr txBox="1"/>
          <p:nvPr/>
        </p:nvSpPr>
        <p:spPr>
          <a:xfrm>
            <a:off x="3755814" y="2156986"/>
            <a:ext cx="2233646" cy="355225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25000"/>
              </a:lnSpc>
              <a:spcBef>
                <a:spcPts val="0"/>
              </a:spcBef>
              <a:spcAft>
                <a:spcPts val="1200"/>
              </a:spcAft>
              <a:buClrTx/>
              <a:buSzPct val="100000"/>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Verdana"/>
                <a:cs typeface="+mn-cs"/>
              </a:rPr>
              <a:t>The NCSR is designed to help organizations </a:t>
            </a:r>
            <a:r>
              <a:rPr kumimoji="0" lang="en-US" sz="1200" b="1" i="0" u="none" strike="noStrike" kern="1200" cap="none" spc="0" normalizeH="0" baseline="0" noProof="0" dirty="0">
                <a:ln>
                  <a:noFill/>
                </a:ln>
                <a:solidFill>
                  <a:prstClr val="black"/>
                </a:solidFill>
                <a:effectLst/>
                <a:uLnTx/>
                <a:uFillTx/>
                <a:latin typeface="Calibri" panose="020F0502020204030204"/>
                <a:ea typeface="Verdana"/>
                <a:cs typeface="+mn-cs"/>
              </a:rPr>
              <a:t>measure gaps </a:t>
            </a:r>
            <a:r>
              <a:rPr kumimoji="0" lang="en-US" sz="1200" b="0" i="0" u="none" strike="noStrike" kern="1200" cap="none" spc="0" normalizeH="0" baseline="0" noProof="0" dirty="0">
                <a:ln>
                  <a:noFill/>
                </a:ln>
                <a:solidFill>
                  <a:prstClr val="black"/>
                </a:solidFill>
                <a:effectLst/>
                <a:uLnTx/>
                <a:uFillTx/>
                <a:latin typeface="Calibri" panose="020F0502020204030204"/>
                <a:ea typeface="Verdana"/>
                <a:cs typeface="+mn-cs"/>
              </a:rPr>
              <a:t>and </a:t>
            </a:r>
            <a:r>
              <a:rPr kumimoji="0" lang="en-US" sz="1200" b="1" i="0" u="none" strike="noStrike" kern="1200" cap="none" spc="0" normalizeH="0" baseline="0" noProof="0" dirty="0">
                <a:ln>
                  <a:noFill/>
                </a:ln>
                <a:solidFill>
                  <a:prstClr val="black"/>
                </a:solidFill>
                <a:effectLst/>
                <a:uLnTx/>
                <a:uFillTx/>
                <a:latin typeface="Calibri" panose="020F0502020204030204"/>
                <a:ea typeface="Verdana"/>
                <a:cs typeface="+mn-cs"/>
              </a:rPr>
              <a:t>capabilities to identify areas for improvement </a:t>
            </a:r>
            <a:r>
              <a:rPr kumimoji="0" lang="en-US" sz="1200" b="0" i="0" u="none" strike="noStrike" kern="1200" cap="none" spc="0" normalizeH="0" baseline="0" noProof="0" dirty="0">
                <a:ln>
                  <a:noFill/>
                </a:ln>
                <a:solidFill>
                  <a:prstClr val="black"/>
                </a:solidFill>
                <a:effectLst/>
                <a:uLnTx/>
                <a:uFillTx/>
                <a:latin typeface="Calibri" panose="020F0502020204030204"/>
                <a:ea typeface="Verdana"/>
                <a:cs typeface="+mn-cs"/>
              </a:rPr>
              <a:t>in their cybersecurity maturity in alignment with the National Institute of Standards and Technology Cybersecurity Framework (NIST CSF). </a:t>
            </a:r>
          </a:p>
          <a:p>
            <a:pPr marL="0" marR="0" lvl="0" indent="0" algn="l" defTabSz="914400" rtl="0" eaLnBrk="1" fontAlgn="auto" latinLnBrk="0" hangingPunct="1">
              <a:lnSpc>
                <a:spcPct val="125000"/>
              </a:lnSpc>
              <a:spcBef>
                <a:spcPts val="20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Visit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6"/>
              </a:rPr>
              <a:t>cybersafetn.gov</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 and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4"/>
              </a:rPr>
              <a:t>www.cisecurity.org/ms-isac</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 for </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additional resources!</a:t>
            </a:r>
            <a:endParaRPr kumimoji="0" lang="en-US" sz="1200" b="1" i="0" u="none" strike="noStrike" kern="1200" cap="none" spc="0" normalizeH="0" baseline="0" noProof="0" dirty="0">
              <a:ln>
                <a:noFill/>
              </a:ln>
              <a:solidFill>
                <a:prstClr val="black"/>
              </a:solidFill>
              <a:effectLst/>
              <a:uLnTx/>
              <a:uFillTx/>
              <a:latin typeface="Calibri" panose="020F0502020204030204"/>
              <a:ea typeface="+mn-lt"/>
              <a:cs typeface="Calibri" panose="020F0502020204030204"/>
            </a:endParaRPr>
          </a:p>
          <a:p>
            <a:pPr marL="0" marR="0" lvl="0" indent="0" algn="l" defTabSz="914400" rtl="0" eaLnBrk="1" fontAlgn="auto" latinLnBrk="0" hangingPunct="1">
              <a:lnSpc>
                <a:spcPct val="125000"/>
              </a:lnSpc>
              <a:spcBef>
                <a:spcPts val="20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lt"/>
              <a:cs typeface="Calibri" panose="020F0502020204030204"/>
              <a:hlinkClick r:id="rId7">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25000"/>
              </a:lnSpc>
              <a:spcBef>
                <a:spcPts val="20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Verdana"/>
              <a:cs typeface="+mn-cs"/>
              <a:hlinkClick r:id="rId7">
                <a:extLst>
                  <a:ext uri="{A12FA001-AC4F-418D-AE19-62706E023703}">
                    <ahyp:hlinkClr xmlns:ahyp="http://schemas.microsoft.com/office/drawing/2018/hyperlinkcolor" val="tx"/>
                  </a:ext>
                </a:extLst>
              </a:hlinkClick>
            </a:endParaRPr>
          </a:p>
        </p:txBody>
      </p:sp>
      <p:pic>
        <p:nvPicPr>
          <p:cNvPr id="13" name="Graphic 12" descr="Clipboard outline">
            <a:extLst>
              <a:ext uri="{FF2B5EF4-FFF2-40B4-BE49-F238E27FC236}">
                <a16:creationId xmlns:a16="http://schemas.microsoft.com/office/drawing/2014/main" id="{C273F0C5-3302-134C-F3EB-3700F41F9D0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32491" y="1540695"/>
            <a:ext cx="433282" cy="433282"/>
          </a:xfrm>
          <a:prstGeom prst="rect">
            <a:avLst/>
          </a:prstGeom>
        </p:spPr>
      </p:pic>
      <p:sp>
        <p:nvSpPr>
          <p:cNvPr id="14" name="Freeform 11">
            <a:extLst>
              <a:ext uri="{FF2B5EF4-FFF2-40B4-BE49-F238E27FC236}">
                <a16:creationId xmlns:a16="http://schemas.microsoft.com/office/drawing/2014/main" id="{DB2C328E-0D14-EBCC-0380-3D083A1B0207}"/>
              </a:ext>
            </a:extLst>
          </p:cNvPr>
          <p:cNvSpPr>
            <a:spLocks noEditPoints="1"/>
          </p:cNvSpPr>
          <p:nvPr/>
        </p:nvSpPr>
        <p:spPr bwMode="auto">
          <a:xfrm>
            <a:off x="3263028" y="1461529"/>
            <a:ext cx="602489" cy="591339"/>
          </a:xfrm>
          <a:custGeom>
            <a:avLst/>
            <a:gdLst>
              <a:gd name="T0" fmla="*/ 312 w 658"/>
              <a:gd name="T1" fmla="*/ 658 h 658"/>
              <a:gd name="T2" fmla="*/ 262 w 658"/>
              <a:gd name="T3" fmla="*/ 652 h 658"/>
              <a:gd name="T4" fmla="*/ 202 w 658"/>
              <a:gd name="T5" fmla="*/ 633 h 658"/>
              <a:gd name="T6" fmla="*/ 120 w 658"/>
              <a:gd name="T7" fmla="*/ 583 h 658"/>
              <a:gd name="T8" fmla="*/ 56 w 658"/>
              <a:gd name="T9" fmla="*/ 513 h 658"/>
              <a:gd name="T10" fmla="*/ 15 w 658"/>
              <a:gd name="T11" fmla="*/ 427 h 658"/>
              <a:gd name="T12" fmla="*/ 4 w 658"/>
              <a:gd name="T13" fmla="*/ 379 h 658"/>
              <a:gd name="T14" fmla="*/ 0 w 658"/>
              <a:gd name="T15" fmla="*/ 329 h 658"/>
              <a:gd name="T16" fmla="*/ 1 w 658"/>
              <a:gd name="T17" fmla="*/ 295 h 658"/>
              <a:gd name="T18" fmla="*/ 11 w 658"/>
              <a:gd name="T19" fmla="*/ 247 h 658"/>
              <a:gd name="T20" fmla="*/ 40 w 658"/>
              <a:gd name="T21" fmla="*/ 173 h 658"/>
              <a:gd name="T22" fmla="*/ 97 w 658"/>
              <a:gd name="T23" fmla="*/ 96 h 658"/>
              <a:gd name="T24" fmla="*/ 172 w 658"/>
              <a:gd name="T25" fmla="*/ 40 h 658"/>
              <a:gd name="T26" fmla="*/ 247 w 658"/>
              <a:gd name="T27" fmla="*/ 10 h 658"/>
              <a:gd name="T28" fmla="*/ 296 w 658"/>
              <a:gd name="T29" fmla="*/ 2 h 658"/>
              <a:gd name="T30" fmla="*/ 329 w 658"/>
              <a:gd name="T31" fmla="*/ 0 h 658"/>
              <a:gd name="T32" fmla="*/ 379 w 658"/>
              <a:gd name="T33" fmla="*/ 4 h 658"/>
              <a:gd name="T34" fmla="*/ 426 w 658"/>
              <a:gd name="T35" fmla="*/ 16 h 658"/>
              <a:gd name="T36" fmla="*/ 513 w 658"/>
              <a:gd name="T37" fmla="*/ 56 h 658"/>
              <a:gd name="T38" fmla="*/ 583 w 658"/>
              <a:gd name="T39" fmla="*/ 121 h 658"/>
              <a:gd name="T40" fmla="*/ 632 w 658"/>
              <a:gd name="T41" fmla="*/ 201 h 658"/>
              <a:gd name="T42" fmla="*/ 652 w 658"/>
              <a:gd name="T43" fmla="*/ 263 h 658"/>
              <a:gd name="T44" fmla="*/ 657 w 658"/>
              <a:gd name="T45" fmla="*/ 313 h 658"/>
              <a:gd name="T46" fmla="*/ 657 w 658"/>
              <a:gd name="T47" fmla="*/ 346 h 658"/>
              <a:gd name="T48" fmla="*/ 652 w 658"/>
              <a:gd name="T49" fmla="*/ 396 h 658"/>
              <a:gd name="T50" fmla="*/ 632 w 658"/>
              <a:gd name="T51" fmla="*/ 457 h 658"/>
              <a:gd name="T52" fmla="*/ 583 w 658"/>
              <a:gd name="T53" fmla="*/ 539 h 658"/>
              <a:gd name="T54" fmla="*/ 513 w 658"/>
              <a:gd name="T55" fmla="*/ 602 h 658"/>
              <a:gd name="T56" fmla="*/ 426 w 658"/>
              <a:gd name="T57" fmla="*/ 644 h 658"/>
              <a:gd name="T58" fmla="*/ 379 w 658"/>
              <a:gd name="T59" fmla="*/ 654 h 658"/>
              <a:gd name="T60" fmla="*/ 329 w 658"/>
              <a:gd name="T61" fmla="*/ 658 h 658"/>
              <a:gd name="T62" fmla="*/ 329 w 658"/>
              <a:gd name="T63" fmla="*/ 37 h 658"/>
              <a:gd name="T64" fmla="*/ 242 w 658"/>
              <a:gd name="T65" fmla="*/ 51 h 658"/>
              <a:gd name="T66" fmla="*/ 167 w 658"/>
              <a:gd name="T67" fmla="*/ 88 h 658"/>
              <a:gd name="T68" fmla="*/ 105 w 658"/>
              <a:gd name="T69" fmla="*/ 144 h 658"/>
              <a:gd name="T70" fmla="*/ 60 w 658"/>
              <a:gd name="T71" fmla="*/ 216 h 658"/>
              <a:gd name="T72" fmla="*/ 39 w 658"/>
              <a:gd name="T73" fmla="*/ 299 h 658"/>
              <a:gd name="T74" fmla="*/ 39 w 658"/>
              <a:gd name="T75" fmla="*/ 359 h 658"/>
              <a:gd name="T76" fmla="*/ 60 w 658"/>
              <a:gd name="T77" fmla="*/ 443 h 658"/>
              <a:gd name="T78" fmla="*/ 105 w 658"/>
              <a:gd name="T79" fmla="*/ 514 h 658"/>
              <a:gd name="T80" fmla="*/ 167 w 658"/>
              <a:gd name="T81" fmla="*/ 571 h 658"/>
              <a:gd name="T82" fmla="*/ 242 w 658"/>
              <a:gd name="T83" fmla="*/ 607 h 658"/>
              <a:gd name="T84" fmla="*/ 329 w 658"/>
              <a:gd name="T85" fmla="*/ 621 h 658"/>
              <a:gd name="T86" fmla="*/ 387 w 658"/>
              <a:gd name="T87" fmla="*/ 615 h 658"/>
              <a:gd name="T88" fmla="*/ 468 w 658"/>
              <a:gd name="T89" fmla="*/ 586 h 658"/>
              <a:gd name="T90" fmla="*/ 535 w 658"/>
              <a:gd name="T91" fmla="*/ 535 h 658"/>
              <a:gd name="T92" fmla="*/ 585 w 658"/>
              <a:gd name="T93" fmla="*/ 467 h 658"/>
              <a:gd name="T94" fmla="*/ 614 w 658"/>
              <a:gd name="T95" fmla="*/ 388 h 658"/>
              <a:gd name="T96" fmla="*/ 621 w 658"/>
              <a:gd name="T97" fmla="*/ 329 h 658"/>
              <a:gd name="T98" fmla="*/ 607 w 658"/>
              <a:gd name="T99" fmla="*/ 243 h 658"/>
              <a:gd name="T100" fmla="*/ 570 w 658"/>
              <a:gd name="T101" fmla="*/ 166 h 658"/>
              <a:gd name="T102" fmla="*/ 515 w 658"/>
              <a:gd name="T103" fmla="*/ 105 h 658"/>
              <a:gd name="T104" fmla="*/ 442 w 658"/>
              <a:gd name="T105" fmla="*/ 62 h 658"/>
              <a:gd name="T106" fmla="*/ 359 w 658"/>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8"/>
                </a:lnTo>
                <a:lnTo>
                  <a:pt x="296" y="657"/>
                </a:lnTo>
                <a:lnTo>
                  <a:pt x="279" y="654"/>
                </a:lnTo>
                <a:lnTo>
                  <a:pt x="262" y="652"/>
                </a:lnTo>
                <a:lnTo>
                  <a:pt x="247" y="648"/>
                </a:lnTo>
                <a:lnTo>
                  <a:pt x="231" y="644"/>
                </a:lnTo>
                <a:lnTo>
                  <a:pt x="202" y="633"/>
                </a:lnTo>
                <a:lnTo>
                  <a:pt x="172" y="618"/>
                </a:lnTo>
                <a:lnTo>
                  <a:pt x="145" y="602"/>
                </a:lnTo>
                <a:lnTo>
                  <a:pt x="120" y="583"/>
                </a:lnTo>
                <a:lnTo>
                  <a:pt x="97" y="562"/>
                </a:lnTo>
                <a:lnTo>
                  <a:pt x="75" y="539"/>
                </a:lnTo>
                <a:lnTo>
                  <a:pt x="56" y="513"/>
                </a:lnTo>
                <a:lnTo>
                  <a:pt x="40" y="486"/>
                </a:lnTo>
                <a:lnTo>
                  <a:pt x="25" y="457"/>
                </a:lnTo>
                <a:lnTo>
                  <a:pt x="15" y="427"/>
                </a:lnTo>
                <a:lnTo>
                  <a:pt x="11" y="411"/>
                </a:lnTo>
                <a:lnTo>
                  <a:pt x="7" y="396"/>
                </a:lnTo>
                <a:lnTo>
                  <a:pt x="4" y="379"/>
                </a:lnTo>
                <a:lnTo>
                  <a:pt x="1" y="363"/>
                </a:lnTo>
                <a:lnTo>
                  <a:pt x="0" y="346"/>
                </a:lnTo>
                <a:lnTo>
                  <a:pt x="0" y="329"/>
                </a:lnTo>
                <a:lnTo>
                  <a:pt x="0" y="329"/>
                </a:lnTo>
                <a:lnTo>
                  <a:pt x="0" y="313"/>
                </a:lnTo>
                <a:lnTo>
                  <a:pt x="1" y="295"/>
                </a:lnTo>
                <a:lnTo>
                  <a:pt x="4" y="279"/>
                </a:lnTo>
                <a:lnTo>
                  <a:pt x="7" y="263"/>
                </a:lnTo>
                <a:lnTo>
                  <a:pt x="11" y="247"/>
                </a:lnTo>
                <a:lnTo>
                  <a:pt x="15" y="232"/>
                </a:lnTo>
                <a:lnTo>
                  <a:pt x="25" y="201"/>
                </a:lnTo>
                <a:lnTo>
                  <a:pt x="40" y="173"/>
                </a:lnTo>
                <a:lnTo>
                  <a:pt x="56" y="145"/>
                </a:lnTo>
                <a:lnTo>
                  <a:pt x="75" y="121"/>
                </a:lnTo>
                <a:lnTo>
                  <a:pt x="97" y="96"/>
                </a:lnTo>
                <a:lnTo>
                  <a:pt x="120" y="75"/>
                </a:lnTo>
                <a:lnTo>
                  <a:pt x="145" y="56"/>
                </a:lnTo>
                <a:lnTo>
                  <a:pt x="172" y="40"/>
                </a:lnTo>
                <a:lnTo>
                  <a:pt x="202" y="27"/>
                </a:lnTo>
                <a:lnTo>
                  <a:pt x="231" y="16"/>
                </a:lnTo>
                <a:lnTo>
                  <a:pt x="247" y="10"/>
                </a:lnTo>
                <a:lnTo>
                  <a:pt x="262" y="6"/>
                </a:lnTo>
                <a:lnTo>
                  <a:pt x="279" y="4"/>
                </a:lnTo>
                <a:lnTo>
                  <a:pt x="296" y="2"/>
                </a:lnTo>
                <a:lnTo>
                  <a:pt x="312" y="1"/>
                </a:lnTo>
                <a:lnTo>
                  <a:pt x="329" y="0"/>
                </a:lnTo>
                <a:lnTo>
                  <a:pt x="329" y="0"/>
                </a:lnTo>
                <a:lnTo>
                  <a:pt x="345" y="1"/>
                </a:lnTo>
                <a:lnTo>
                  <a:pt x="363" y="2"/>
                </a:lnTo>
                <a:lnTo>
                  <a:pt x="379" y="4"/>
                </a:lnTo>
                <a:lnTo>
                  <a:pt x="395" y="6"/>
                </a:lnTo>
                <a:lnTo>
                  <a:pt x="411" y="10"/>
                </a:lnTo>
                <a:lnTo>
                  <a:pt x="426" y="16"/>
                </a:lnTo>
                <a:lnTo>
                  <a:pt x="457" y="27"/>
                </a:lnTo>
                <a:lnTo>
                  <a:pt x="485" y="40"/>
                </a:lnTo>
                <a:lnTo>
                  <a:pt x="513" y="56"/>
                </a:lnTo>
                <a:lnTo>
                  <a:pt x="538" y="75"/>
                </a:lnTo>
                <a:lnTo>
                  <a:pt x="562" y="96"/>
                </a:lnTo>
                <a:lnTo>
                  <a:pt x="583" y="121"/>
                </a:lnTo>
                <a:lnTo>
                  <a:pt x="602" y="145"/>
                </a:lnTo>
                <a:lnTo>
                  <a:pt x="618" y="173"/>
                </a:lnTo>
                <a:lnTo>
                  <a:pt x="632" y="201"/>
                </a:lnTo>
                <a:lnTo>
                  <a:pt x="644" y="232"/>
                </a:lnTo>
                <a:lnTo>
                  <a:pt x="648" y="247"/>
                </a:lnTo>
                <a:lnTo>
                  <a:pt x="652" y="263"/>
                </a:lnTo>
                <a:lnTo>
                  <a:pt x="654" y="279"/>
                </a:lnTo>
                <a:lnTo>
                  <a:pt x="656" y="295"/>
                </a:lnTo>
                <a:lnTo>
                  <a:pt x="657" y="313"/>
                </a:lnTo>
                <a:lnTo>
                  <a:pt x="658" y="329"/>
                </a:lnTo>
                <a:lnTo>
                  <a:pt x="658" y="329"/>
                </a:lnTo>
                <a:lnTo>
                  <a:pt x="657" y="346"/>
                </a:lnTo>
                <a:lnTo>
                  <a:pt x="656" y="363"/>
                </a:lnTo>
                <a:lnTo>
                  <a:pt x="654" y="379"/>
                </a:lnTo>
                <a:lnTo>
                  <a:pt x="652" y="396"/>
                </a:lnTo>
                <a:lnTo>
                  <a:pt x="648" y="411"/>
                </a:lnTo>
                <a:lnTo>
                  <a:pt x="644" y="427"/>
                </a:lnTo>
                <a:lnTo>
                  <a:pt x="632" y="457"/>
                </a:lnTo>
                <a:lnTo>
                  <a:pt x="618" y="486"/>
                </a:lnTo>
                <a:lnTo>
                  <a:pt x="602" y="513"/>
                </a:lnTo>
                <a:lnTo>
                  <a:pt x="583" y="539"/>
                </a:lnTo>
                <a:lnTo>
                  <a:pt x="562" y="562"/>
                </a:lnTo>
                <a:lnTo>
                  <a:pt x="538" y="583"/>
                </a:lnTo>
                <a:lnTo>
                  <a:pt x="513" y="602"/>
                </a:lnTo>
                <a:lnTo>
                  <a:pt x="485" y="618"/>
                </a:lnTo>
                <a:lnTo>
                  <a:pt x="457" y="633"/>
                </a:lnTo>
                <a:lnTo>
                  <a:pt x="426" y="644"/>
                </a:lnTo>
                <a:lnTo>
                  <a:pt x="411" y="648"/>
                </a:lnTo>
                <a:lnTo>
                  <a:pt x="395" y="652"/>
                </a:lnTo>
                <a:lnTo>
                  <a:pt x="379" y="654"/>
                </a:lnTo>
                <a:lnTo>
                  <a:pt x="363" y="657"/>
                </a:lnTo>
                <a:lnTo>
                  <a:pt x="345" y="658"/>
                </a:lnTo>
                <a:lnTo>
                  <a:pt x="329" y="658"/>
                </a:lnTo>
                <a:lnTo>
                  <a:pt x="329" y="658"/>
                </a:lnTo>
                <a:close/>
                <a:moveTo>
                  <a:pt x="329" y="37"/>
                </a:moveTo>
                <a:lnTo>
                  <a:pt x="329" y="37"/>
                </a:lnTo>
                <a:lnTo>
                  <a:pt x="300" y="40"/>
                </a:lnTo>
                <a:lnTo>
                  <a:pt x="270" y="44"/>
                </a:lnTo>
                <a:lnTo>
                  <a:pt x="242" y="51"/>
                </a:lnTo>
                <a:lnTo>
                  <a:pt x="215" y="62"/>
                </a:lnTo>
                <a:lnTo>
                  <a:pt x="191" y="74"/>
                </a:lnTo>
                <a:lnTo>
                  <a:pt x="167" y="88"/>
                </a:lnTo>
                <a:lnTo>
                  <a:pt x="144" y="105"/>
                </a:lnTo>
                <a:lnTo>
                  <a:pt x="124" y="123"/>
                </a:lnTo>
                <a:lnTo>
                  <a:pt x="105" y="144"/>
                </a:lnTo>
                <a:lnTo>
                  <a:pt x="87" y="166"/>
                </a:lnTo>
                <a:lnTo>
                  <a:pt x="73" y="191"/>
                </a:lnTo>
                <a:lnTo>
                  <a:pt x="60" y="216"/>
                </a:lnTo>
                <a:lnTo>
                  <a:pt x="51" y="243"/>
                </a:lnTo>
                <a:lnTo>
                  <a:pt x="43" y="271"/>
                </a:lnTo>
                <a:lnTo>
                  <a:pt x="39" y="299"/>
                </a:lnTo>
                <a:lnTo>
                  <a:pt x="38" y="329"/>
                </a:lnTo>
                <a:lnTo>
                  <a:pt x="38" y="329"/>
                </a:lnTo>
                <a:lnTo>
                  <a:pt x="39" y="359"/>
                </a:lnTo>
                <a:lnTo>
                  <a:pt x="43" y="388"/>
                </a:lnTo>
                <a:lnTo>
                  <a:pt x="51" y="416"/>
                </a:lnTo>
                <a:lnTo>
                  <a:pt x="60" y="443"/>
                </a:lnTo>
                <a:lnTo>
                  <a:pt x="73" y="467"/>
                </a:lnTo>
                <a:lnTo>
                  <a:pt x="87" y="492"/>
                </a:lnTo>
                <a:lnTo>
                  <a:pt x="105" y="514"/>
                </a:lnTo>
                <a:lnTo>
                  <a:pt x="124" y="535"/>
                </a:lnTo>
                <a:lnTo>
                  <a:pt x="144" y="553"/>
                </a:lnTo>
                <a:lnTo>
                  <a:pt x="167" y="571"/>
                </a:lnTo>
                <a:lnTo>
                  <a:pt x="191" y="586"/>
                </a:lnTo>
                <a:lnTo>
                  <a:pt x="215" y="598"/>
                </a:lnTo>
                <a:lnTo>
                  <a:pt x="242" y="607"/>
                </a:lnTo>
                <a:lnTo>
                  <a:pt x="270" y="615"/>
                </a:lnTo>
                <a:lnTo>
                  <a:pt x="300" y="619"/>
                </a:lnTo>
                <a:lnTo>
                  <a:pt x="329" y="621"/>
                </a:lnTo>
                <a:lnTo>
                  <a:pt x="329" y="621"/>
                </a:lnTo>
                <a:lnTo>
                  <a:pt x="359" y="619"/>
                </a:lnTo>
                <a:lnTo>
                  <a:pt x="387" y="615"/>
                </a:lnTo>
                <a:lnTo>
                  <a:pt x="415" y="607"/>
                </a:lnTo>
                <a:lnTo>
                  <a:pt x="442" y="598"/>
                </a:lnTo>
                <a:lnTo>
                  <a:pt x="468" y="586"/>
                </a:lnTo>
                <a:lnTo>
                  <a:pt x="492" y="571"/>
                </a:lnTo>
                <a:lnTo>
                  <a:pt x="515" y="553"/>
                </a:lnTo>
                <a:lnTo>
                  <a:pt x="535" y="535"/>
                </a:lnTo>
                <a:lnTo>
                  <a:pt x="554" y="514"/>
                </a:lnTo>
                <a:lnTo>
                  <a:pt x="570" y="492"/>
                </a:lnTo>
                <a:lnTo>
                  <a:pt x="585" y="467"/>
                </a:lnTo>
                <a:lnTo>
                  <a:pt x="597" y="443"/>
                </a:lnTo>
                <a:lnTo>
                  <a:pt x="607" y="416"/>
                </a:lnTo>
                <a:lnTo>
                  <a:pt x="614" y="388"/>
                </a:lnTo>
                <a:lnTo>
                  <a:pt x="618" y="359"/>
                </a:lnTo>
                <a:lnTo>
                  <a:pt x="621" y="329"/>
                </a:lnTo>
                <a:lnTo>
                  <a:pt x="621" y="329"/>
                </a:lnTo>
                <a:lnTo>
                  <a:pt x="618" y="299"/>
                </a:lnTo>
                <a:lnTo>
                  <a:pt x="614" y="271"/>
                </a:lnTo>
                <a:lnTo>
                  <a:pt x="607" y="243"/>
                </a:lnTo>
                <a:lnTo>
                  <a:pt x="597" y="216"/>
                </a:lnTo>
                <a:lnTo>
                  <a:pt x="585" y="191"/>
                </a:lnTo>
                <a:lnTo>
                  <a:pt x="570" y="166"/>
                </a:lnTo>
                <a:lnTo>
                  <a:pt x="554" y="144"/>
                </a:lnTo>
                <a:lnTo>
                  <a:pt x="535" y="123"/>
                </a:lnTo>
                <a:lnTo>
                  <a:pt x="515" y="105"/>
                </a:lnTo>
                <a:lnTo>
                  <a:pt x="492" y="88"/>
                </a:lnTo>
                <a:lnTo>
                  <a:pt x="468" y="74"/>
                </a:lnTo>
                <a:lnTo>
                  <a:pt x="442" y="62"/>
                </a:lnTo>
                <a:lnTo>
                  <a:pt x="415" y="51"/>
                </a:lnTo>
                <a:lnTo>
                  <a:pt x="387" y="44"/>
                </a:lnTo>
                <a:lnTo>
                  <a:pt x="359" y="40"/>
                </a:lnTo>
                <a:lnTo>
                  <a:pt x="329" y="37"/>
                </a:lnTo>
                <a:lnTo>
                  <a:pt x="329" y="37"/>
                </a:lnTo>
                <a:close/>
              </a:path>
            </a:pathLst>
          </a:custGeom>
          <a:solidFill>
            <a:srgbClr val="364C7D"/>
          </a:solidFill>
          <a:ln>
            <a:solidFill>
              <a:schemeClr val="bg1"/>
            </a:solid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Open Sans"/>
              <a:ea typeface="+mn-ea"/>
              <a:cs typeface="+mn-cs"/>
            </a:endParaRPr>
          </a:p>
        </p:txBody>
      </p:sp>
      <p:sp>
        <p:nvSpPr>
          <p:cNvPr id="73" name="Title 3">
            <a:extLst>
              <a:ext uri="{FF2B5EF4-FFF2-40B4-BE49-F238E27FC236}">
                <a16:creationId xmlns:a16="http://schemas.microsoft.com/office/drawing/2014/main" id="{5A9891A8-DFFD-39EF-ECA4-F74481EEC3CA}"/>
              </a:ext>
            </a:extLst>
          </p:cNvPr>
          <p:cNvSpPr>
            <a:spLocks noGrp="1"/>
          </p:cNvSpPr>
          <p:nvPr>
            <p:ph type="title"/>
          </p:nvPr>
        </p:nvSpPr>
        <p:spPr>
          <a:xfrm>
            <a:off x="883368" y="624322"/>
            <a:ext cx="6481506" cy="349979"/>
          </a:xfrm>
        </p:spPr>
        <p:txBody>
          <a:bodyPr/>
          <a:lstStyle/>
          <a:p>
            <a:r>
              <a:rPr lang="en-US" sz="2100" dirty="0"/>
              <a:t>What is the NCSR and How Can We Help Your Organization?</a:t>
            </a:r>
          </a:p>
        </p:txBody>
      </p:sp>
      <p:sp>
        <p:nvSpPr>
          <p:cNvPr id="74" name="Rectangle 73">
            <a:extLst>
              <a:ext uri="{FF2B5EF4-FFF2-40B4-BE49-F238E27FC236}">
                <a16:creationId xmlns:a16="http://schemas.microsoft.com/office/drawing/2014/main" id="{57FBC8D1-D399-E4DE-D2A1-E029005F7DBF}"/>
              </a:ext>
            </a:extLst>
          </p:cNvPr>
          <p:cNvSpPr/>
          <p:nvPr/>
        </p:nvSpPr>
        <p:spPr bwMode="gray">
          <a:xfrm>
            <a:off x="2431693" y="6215527"/>
            <a:ext cx="7315200" cy="349979"/>
          </a:xfrm>
          <a:prstGeom prst="rect">
            <a:avLst/>
          </a:prstGeom>
          <a:solidFill>
            <a:schemeClr val="accent1">
              <a:lumMod val="60000"/>
              <a:lumOff val="40000"/>
            </a:schemeClr>
          </a:solidFill>
          <a:ln w="12700" algn="ctr">
            <a:solidFill>
              <a:schemeClr val="tx1"/>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dditional questions or ready for the next steps? Contact our team at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NCSR@tn.gov</a:t>
            </a: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D77EBA14-75E9-ABEF-722A-728F06A4B951}"/>
              </a:ext>
            </a:extLst>
          </p:cNvPr>
          <p:cNvPicPr>
            <a:picLocks noChangeAspect="1"/>
          </p:cNvPicPr>
          <p:nvPr/>
        </p:nvPicPr>
        <p:blipFill>
          <a:blip r:embed="rId10"/>
          <a:stretch>
            <a:fillRect/>
          </a:stretch>
        </p:blipFill>
        <p:spPr>
          <a:xfrm>
            <a:off x="9709635" y="5457981"/>
            <a:ext cx="1247263" cy="330899"/>
          </a:xfrm>
          <a:prstGeom prst="rect">
            <a:avLst/>
          </a:prstGeom>
        </p:spPr>
      </p:pic>
      <p:cxnSp>
        <p:nvCxnSpPr>
          <p:cNvPr id="6" name="Straight Connector 5">
            <a:extLst>
              <a:ext uri="{FF2B5EF4-FFF2-40B4-BE49-F238E27FC236}">
                <a16:creationId xmlns:a16="http://schemas.microsoft.com/office/drawing/2014/main" id="{DBFCFC96-FCD4-3603-7F0F-147FCC37A1FC}"/>
              </a:ext>
            </a:extLst>
          </p:cNvPr>
          <p:cNvCxnSpPr>
            <a:cxnSpLocks/>
          </p:cNvCxnSpPr>
          <p:nvPr/>
        </p:nvCxnSpPr>
        <p:spPr>
          <a:xfrm>
            <a:off x="9773245" y="800118"/>
            <a:ext cx="2209371" cy="0"/>
          </a:xfrm>
          <a:prstGeom prst="line">
            <a:avLst/>
          </a:prstGeom>
          <a:ln w="127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476932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4">
            <a:extLst>
              <a:ext uri="{FF2B5EF4-FFF2-40B4-BE49-F238E27FC236}">
                <a16:creationId xmlns:a16="http://schemas.microsoft.com/office/drawing/2014/main" id="{3DDB4CB5-8819-45C0-A96C-4C33FE209691}"/>
              </a:ext>
            </a:extLst>
          </p:cNvPr>
          <p:cNvSpPr txBox="1">
            <a:spLocks/>
          </p:cNvSpPr>
          <p:nvPr/>
        </p:nvSpPr>
        <p:spPr bwMode="gray">
          <a:xfrm>
            <a:off x="189752" y="367433"/>
            <a:ext cx="1601423" cy="357235"/>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ctr" defTabSz="121917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Light" panose="020F0302020204030204"/>
                <a:ea typeface="Verdana"/>
                <a:cs typeface="+mj-cs"/>
              </a:rPr>
              <a:t>What is the NCSR?</a:t>
            </a:r>
          </a:p>
        </p:txBody>
      </p:sp>
      <p:sp>
        <p:nvSpPr>
          <p:cNvPr id="73" name="Title 3">
            <a:extLst>
              <a:ext uri="{FF2B5EF4-FFF2-40B4-BE49-F238E27FC236}">
                <a16:creationId xmlns:a16="http://schemas.microsoft.com/office/drawing/2014/main" id="{5A9891A8-DFFD-39EF-ECA4-F74481EEC3CA}"/>
              </a:ext>
            </a:extLst>
          </p:cNvPr>
          <p:cNvSpPr>
            <a:spLocks noGrp="1"/>
          </p:cNvSpPr>
          <p:nvPr>
            <p:ph type="title"/>
          </p:nvPr>
        </p:nvSpPr>
        <p:spPr>
          <a:xfrm>
            <a:off x="912024" y="623986"/>
            <a:ext cx="6197599" cy="364245"/>
          </a:xfrm>
        </p:spPr>
        <p:txBody>
          <a:bodyPr/>
          <a:lstStyle/>
          <a:p>
            <a:r>
              <a:rPr lang="en-US" sz="2100" dirty="0"/>
              <a:t>Frequently Asked Questions About the NCSR</a:t>
            </a:r>
          </a:p>
        </p:txBody>
      </p:sp>
      <p:grpSp>
        <p:nvGrpSpPr>
          <p:cNvPr id="143" name="Group 142">
            <a:extLst>
              <a:ext uri="{FF2B5EF4-FFF2-40B4-BE49-F238E27FC236}">
                <a16:creationId xmlns:a16="http://schemas.microsoft.com/office/drawing/2014/main" id="{3A67AD47-A2E4-862E-5FCC-8D3B7538E6F7}"/>
              </a:ext>
            </a:extLst>
          </p:cNvPr>
          <p:cNvGrpSpPr/>
          <p:nvPr/>
        </p:nvGrpSpPr>
        <p:grpSpPr>
          <a:xfrm>
            <a:off x="5958995" y="1120848"/>
            <a:ext cx="5972565" cy="1839039"/>
            <a:chOff x="5958995" y="1120848"/>
            <a:chExt cx="5972565" cy="1839039"/>
          </a:xfrm>
        </p:grpSpPr>
        <p:sp>
          <p:nvSpPr>
            <p:cNvPr id="92" name="Hexagon 91">
              <a:extLst>
                <a:ext uri="{FF2B5EF4-FFF2-40B4-BE49-F238E27FC236}">
                  <a16:creationId xmlns:a16="http://schemas.microsoft.com/office/drawing/2014/main" id="{EAE659BE-3623-F551-0E7E-34CE0A7698D6}"/>
                </a:ext>
              </a:extLst>
            </p:cNvPr>
            <p:cNvSpPr/>
            <p:nvPr/>
          </p:nvSpPr>
          <p:spPr bwMode="gray">
            <a:xfrm>
              <a:off x="5958995" y="1120848"/>
              <a:ext cx="2133285" cy="1839039"/>
            </a:xfrm>
            <a:prstGeom prst="hexagon">
              <a:avLst/>
            </a:prstGeom>
            <a:solidFill>
              <a:srgbClr val="00206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Light"/>
                <a:ea typeface="+mn-ea"/>
                <a:cs typeface="+mn-cs"/>
              </a:endParaRPr>
            </a:p>
          </p:txBody>
        </p:sp>
        <p:sp>
          <p:nvSpPr>
            <p:cNvPr id="94" name="Pentagon 3">
              <a:extLst>
                <a:ext uri="{FF2B5EF4-FFF2-40B4-BE49-F238E27FC236}">
                  <a16:creationId xmlns:a16="http://schemas.microsoft.com/office/drawing/2014/main" id="{3C3EDEFB-1510-173D-4E01-6BA99EF7D7B5}"/>
                </a:ext>
              </a:extLst>
            </p:cNvPr>
            <p:cNvSpPr/>
            <p:nvPr/>
          </p:nvSpPr>
          <p:spPr bwMode="gray">
            <a:xfrm flipH="1">
              <a:off x="6263754" y="1404752"/>
              <a:ext cx="5264061" cy="1277639"/>
            </a:xfrm>
            <a:prstGeom prst="homePlate">
              <a:avLst>
                <a:gd name="adj" fmla="val 29778"/>
              </a:avLst>
            </a:prstGeom>
            <a:solidFill>
              <a:sysClr val="window" lastClr="FFFFFF"/>
            </a:solidFill>
            <a:ln w="25400" cap="flat" cmpd="sng" algn="ctr">
              <a:noFill/>
              <a:prstDash val="solid"/>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Light"/>
                <a:ea typeface="+mn-ea"/>
                <a:cs typeface="+mn-cs"/>
              </a:endParaRPr>
            </a:p>
          </p:txBody>
        </p:sp>
        <p:sp>
          <p:nvSpPr>
            <p:cNvPr id="96" name="Rectangle 95">
              <a:extLst>
                <a:ext uri="{FF2B5EF4-FFF2-40B4-BE49-F238E27FC236}">
                  <a16:creationId xmlns:a16="http://schemas.microsoft.com/office/drawing/2014/main" id="{F70846D0-9BA8-C588-4AC9-77D372B4E4FA}"/>
                </a:ext>
              </a:extLst>
            </p:cNvPr>
            <p:cNvSpPr/>
            <p:nvPr/>
          </p:nvSpPr>
          <p:spPr>
            <a:xfrm>
              <a:off x="7551070" y="1640258"/>
              <a:ext cx="4380490" cy="80021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2060"/>
                  </a:solidFill>
                  <a:effectLst/>
                  <a:uLnTx/>
                  <a:uFillTx/>
                  <a:latin typeface="Calibri"/>
                  <a:ea typeface="+mn-ea"/>
                  <a:cs typeface="+mn-cs"/>
                </a:rPr>
                <a:t>What is the Level of Effort expec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a:ea typeface="+mn-ea"/>
                  <a:cs typeface="+mn-cs"/>
                </a:rPr>
                <a:t>The estimated time to complete the NCSR survey </a:t>
              </a:r>
              <a:br>
                <a:rPr kumimoji="0" lang="en-US" sz="1400" b="0" i="0" u="none" strike="noStrike" kern="0" cap="none" spc="0" normalizeH="0" baseline="0" noProof="0" dirty="0">
                  <a:ln>
                    <a:noFill/>
                  </a:ln>
                  <a:solidFill>
                    <a:prstClr val="black"/>
                  </a:solidFill>
                  <a:effectLst/>
                  <a:uLnTx/>
                  <a:uFillTx/>
                  <a:latin typeface="Calibri"/>
                  <a:ea typeface="+mn-ea"/>
                  <a:cs typeface="+mn-cs"/>
                </a:rPr>
              </a:br>
              <a:r>
                <a:rPr kumimoji="0" lang="en-US" sz="1400" b="0" i="0" u="none" strike="noStrike" kern="0" cap="none" spc="0" normalizeH="0" baseline="0" noProof="0" dirty="0">
                  <a:ln>
                    <a:noFill/>
                  </a:ln>
                  <a:solidFill>
                    <a:prstClr val="black"/>
                  </a:solidFill>
                  <a:effectLst/>
                  <a:uLnTx/>
                  <a:uFillTx/>
                  <a:latin typeface="Calibri"/>
                  <a:ea typeface="+mn-ea"/>
                  <a:cs typeface="+mn-cs"/>
                </a:rPr>
                <a:t>is 4 to 8 hours</a:t>
              </a:r>
              <a:endParaRPr kumimoji="0" lang="en-US" sz="1600" b="1" i="0" u="none" strike="noStrike" kern="0" cap="none" spc="0" normalizeH="0" baseline="0" noProof="0" dirty="0">
                <a:ln>
                  <a:noFill/>
                </a:ln>
                <a:solidFill>
                  <a:srgbClr val="002060"/>
                </a:solidFill>
                <a:effectLst/>
                <a:uLnTx/>
                <a:uFillTx/>
                <a:latin typeface="Calibri"/>
                <a:ea typeface="+mn-ea"/>
                <a:cs typeface="+mn-cs"/>
              </a:endParaRPr>
            </a:p>
          </p:txBody>
        </p:sp>
        <p:grpSp>
          <p:nvGrpSpPr>
            <p:cNvPr id="101" name="Graphic 4">
              <a:extLst>
                <a:ext uri="{FF2B5EF4-FFF2-40B4-BE49-F238E27FC236}">
                  <a16:creationId xmlns:a16="http://schemas.microsoft.com/office/drawing/2014/main" id="{354FB3A2-40F7-9D51-DF16-BC3FE513790B}"/>
                </a:ext>
              </a:extLst>
            </p:cNvPr>
            <p:cNvGrpSpPr>
              <a:grpSpLocks noChangeAspect="1"/>
            </p:cNvGrpSpPr>
            <p:nvPr/>
          </p:nvGrpSpPr>
          <p:grpSpPr>
            <a:xfrm>
              <a:off x="6667499" y="1624239"/>
              <a:ext cx="822960" cy="832256"/>
              <a:chOff x="8841116" y="4792617"/>
              <a:chExt cx="361674" cy="361333"/>
            </a:xfrm>
            <a:solidFill>
              <a:srgbClr val="002060"/>
            </a:solidFill>
          </p:grpSpPr>
          <p:sp>
            <p:nvSpPr>
              <p:cNvPr id="103" name="Graphic 4">
                <a:extLst>
                  <a:ext uri="{FF2B5EF4-FFF2-40B4-BE49-F238E27FC236}">
                    <a16:creationId xmlns:a16="http://schemas.microsoft.com/office/drawing/2014/main" id="{03989807-3B3B-93D1-500A-31193CF570E2}"/>
                  </a:ext>
                </a:extLst>
              </p:cNvPr>
              <p:cNvSpPr/>
              <p:nvPr/>
            </p:nvSpPr>
            <p:spPr>
              <a:xfrm>
                <a:off x="8841116" y="4792617"/>
                <a:ext cx="361674" cy="361333"/>
              </a:xfrm>
              <a:custGeom>
                <a:avLst/>
                <a:gdLst>
                  <a:gd name="connsiteX0" fmla="*/ 180836 w 361674"/>
                  <a:gd name="connsiteY0" fmla="*/ 349204 h 361333"/>
                  <a:gd name="connsiteX1" fmla="*/ 12780 w 361674"/>
                  <a:gd name="connsiteY1" fmla="*/ 181305 h 361333"/>
                  <a:gd name="connsiteX2" fmla="*/ 180836 w 361674"/>
                  <a:gd name="connsiteY2" fmla="*/ 13407 h 361333"/>
                  <a:gd name="connsiteX3" fmla="*/ 348890 w 361674"/>
                  <a:gd name="connsiteY3" fmla="*/ 181305 h 361333"/>
                  <a:gd name="connsiteX4" fmla="*/ 180836 w 361674"/>
                  <a:gd name="connsiteY4" fmla="*/ 349204 h 361333"/>
                  <a:gd name="connsiteX5" fmla="*/ 180836 w 361674"/>
                  <a:gd name="connsiteY5" fmla="*/ 0 h 361333"/>
                  <a:gd name="connsiteX6" fmla="*/ 0 w 361674"/>
                  <a:gd name="connsiteY6" fmla="*/ 180667 h 361333"/>
                  <a:gd name="connsiteX7" fmla="*/ 180836 w 361674"/>
                  <a:gd name="connsiteY7" fmla="*/ 361334 h 361333"/>
                  <a:gd name="connsiteX8" fmla="*/ 361670 w 361674"/>
                  <a:gd name="connsiteY8" fmla="*/ 180667 h 361333"/>
                  <a:gd name="connsiteX9" fmla="*/ 180836 w 361674"/>
                  <a:gd name="connsiteY9" fmla="*/ 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349204"/>
                    </a:moveTo>
                    <a:cubicBezTo>
                      <a:pt x="88181" y="349204"/>
                      <a:pt x="12780" y="273873"/>
                      <a:pt x="12780" y="181305"/>
                    </a:cubicBezTo>
                    <a:cubicBezTo>
                      <a:pt x="12780" y="88738"/>
                      <a:pt x="88181" y="13407"/>
                      <a:pt x="180836" y="13407"/>
                    </a:cubicBezTo>
                    <a:cubicBezTo>
                      <a:pt x="273490" y="13407"/>
                      <a:pt x="348890" y="88738"/>
                      <a:pt x="348890" y="181305"/>
                    </a:cubicBezTo>
                    <a:cubicBezTo>
                      <a:pt x="349530" y="273873"/>
                      <a:pt x="274128" y="349204"/>
                      <a:pt x="180836" y="349204"/>
                    </a:cubicBezTo>
                    <a:moveTo>
                      <a:pt x="180836" y="0"/>
                    </a:moveTo>
                    <a:cubicBezTo>
                      <a:pt x="80513" y="0"/>
                      <a:pt x="0" y="81077"/>
                      <a:pt x="0" y="180667"/>
                    </a:cubicBezTo>
                    <a:cubicBezTo>
                      <a:pt x="0" y="280895"/>
                      <a:pt x="81153" y="361334"/>
                      <a:pt x="180836" y="361334"/>
                    </a:cubicBezTo>
                    <a:cubicBezTo>
                      <a:pt x="280518" y="361334"/>
                      <a:pt x="361670" y="280257"/>
                      <a:pt x="361670" y="180667"/>
                    </a:cubicBezTo>
                    <a:cubicBezTo>
                      <a:pt x="362310" y="81077"/>
                      <a:pt x="281157" y="0"/>
                      <a:pt x="180836" y="0"/>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04" name="Graphic 4">
                <a:extLst>
                  <a:ext uri="{FF2B5EF4-FFF2-40B4-BE49-F238E27FC236}">
                    <a16:creationId xmlns:a16="http://schemas.microsoft.com/office/drawing/2014/main" id="{BF262BF8-F7AE-ECB3-8592-FD9F9575F22D}"/>
                  </a:ext>
                </a:extLst>
              </p:cNvPr>
              <p:cNvSpPr/>
              <p:nvPr/>
            </p:nvSpPr>
            <p:spPr>
              <a:xfrm>
                <a:off x="8903099" y="4911360"/>
                <a:ext cx="237705" cy="125125"/>
              </a:xfrm>
              <a:custGeom>
                <a:avLst/>
                <a:gdLst>
                  <a:gd name="connsiteX0" fmla="*/ 231315 w 237705"/>
                  <a:gd name="connsiteY0" fmla="*/ 56179 h 125125"/>
                  <a:gd name="connsiteX1" fmla="*/ 229398 w 237705"/>
                  <a:gd name="connsiteY1" fmla="*/ 56179 h 125125"/>
                  <a:gd name="connsiteX2" fmla="*/ 229398 w 237705"/>
                  <a:gd name="connsiteY2" fmla="*/ 22344 h 125125"/>
                  <a:gd name="connsiteX3" fmla="*/ 223008 w 237705"/>
                  <a:gd name="connsiteY3" fmla="*/ 15960 h 125125"/>
                  <a:gd name="connsiteX4" fmla="*/ 216618 w 237705"/>
                  <a:gd name="connsiteY4" fmla="*/ 22344 h 125125"/>
                  <a:gd name="connsiteX5" fmla="*/ 216618 w 237705"/>
                  <a:gd name="connsiteY5" fmla="*/ 56179 h 125125"/>
                  <a:gd name="connsiteX6" fmla="*/ 214063 w 237705"/>
                  <a:gd name="connsiteY6" fmla="*/ 56179 h 125125"/>
                  <a:gd name="connsiteX7" fmla="*/ 214063 w 237705"/>
                  <a:gd name="connsiteY7" fmla="*/ 14683 h 125125"/>
                  <a:gd name="connsiteX8" fmla="*/ 207673 w 237705"/>
                  <a:gd name="connsiteY8" fmla="*/ 8299 h 125125"/>
                  <a:gd name="connsiteX9" fmla="*/ 201283 w 237705"/>
                  <a:gd name="connsiteY9" fmla="*/ 14683 h 125125"/>
                  <a:gd name="connsiteX10" fmla="*/ 201283 w 237705"/>
                  <a:gd name="connsiteY10" fmla="*/ 56179 h 125125"/>
                  <a:gd name="connsiteX11" fmla="*/ 198727 w 237705"/>
                  <a:gd name="connsiteY11" fmla="*/ 56179 h 125125"/>
                  <a:gd name="connsiteX12" fmla="*/ 198727 w 237705"/>
                  <a:gd name="connsiteY12" fmla="*/ 6384 h 125125"/>
                  <a:gd name="connsiteX13" fmla="*/ 192337 w 237705"/>
                  <a:gd name="connsiteY13" fmla="*/ 0 h 125125"/>
                  <a:gd name="connsiteX14" fmla="*/ 185947 w 237705"/>
                  <a:gd name="connsiteY14" fmla="*/ 6384 h 125125"/>
                  <a:gd name="connsiteX15" fmla="*/ 185947 w 237705"/>
                  <a:gd name="connsiteY15" fmla="*/ 56179 h 125125"/>
                  <a:gd name="connsiteX16" fmla="*/ 51758 w 237705"/>
                  <a:gd name="connsiteY16" fmla="*/ 56179 h 125125"/>
                  <a:gd name="connsiteX17" fmla="*/ 51758 w 237705"/>
                  <a:gd name="connsiteY17" fmla="*/ 6384 h 125125"/>
                  <a:gd name="connsiteX18" fmla="*/ 45368 w 237705"/>
                  <a:gd name="connsiteY18" fmla="*/ 0 h 125125"/>
                  <a:gd name="connsiteX19" fmla="*/ 38978 w 237705"/>
                  <a:gd name="connsiteY19" fmla="*/ 6384 h 125125"/>
                  <a:gd name="connsiteX20" fmla="*/ 38978 w 237705"/>
                  <a:gd name="connsiteY20" fmla="*/ 56179 h 125125"/>
                  <a:gd name="connsiteX21" fmla="*/ 36422 w 237705"/>
                  <a:gd name="connsiteY21" fmla="*/ 56179 h 125125"/>
                  <a:gd name="connsiteX22" fmla="*/ 36422 w 237705"/>
                  <a:gd name="connsiteY22" fmla="*/ 14683 h 125125"/>
                  <a:gd name="connsiteX23" fmla="*/ 30032 w 237705"/>
                  <a:gd name="connsiteY23" fmla="*/ 8299 h 125125"/>
                  <a:gd name="connsiteX24" fmla="*/ 23642 w 237705"/>
                  <a:gd name="connsiteY24" fmla="*/ 14683 h 125125"/>
                  <a:gd name="connsiteX25" fmla="*/ 23642 w 237705"/>
                  <a:gd name="connsiteY25" fmla="*/ 56179 h 125125"/>
                  <a:gd name="connsiteX26" fmla="*/ 21086 w 237705"/>
                  <a:gd name="connsiteY26" fmla="*/ 56179 h 125125"/>
                  <a:gd name="connsiteX27" fmla="*/ 21086 w 237705"/>
                  <a:gd name="connsiteY27" fmla="*/ 22344 h 125125"/>
                  <a:gd name="connsiteX28" fmla="*/ 14696 w 237705"/>
                  <a:gd name="connsiteY28" fmla="*/ 15960 h 125125"/>
                  <a:gd name="connsiteX29" fmla="*/ 8306 w 237705"/>
                  <a:gd name="connsiteY29" fmla="*/ 22344 h 125125"/>
                  <a:gd name="connsiteX30" fmla="*/ 8306 w 237705"/>
                  <a:gd name="connsiteY30" fmla="*/ 56179 h 125125"/>
                  <a:gd name="connsiteX31" fmla="*/ 6390 w 237705"/>
                  <a:gd name="connsiteY31" fmla="*/ 56179 h 125125"/>
                  <a:gd name="connsiteX32" fmla="*/ 0 w 237705"/>
                  <a:gd name="connsiteY32" fmla="*/ 62563 h 125125"/>
                  <a:gd name="connsiteX33" fmla="*/ 6390 w 237705"/>
                  <a:gd name="connsiteY33" fmla="*/ 68947 h 125125"/>
                  <a:gd name="connsiteX34" fmla="*/ 8306 w 237705"/>
                  <a:gd name="connsiteY34" fmla="*/ 68947 h 125125"/>
                  <a:gd name="connsiteX35" fmla="*/ 8306 w 237705"/>
                  <a:gd name="connsiteY35" fmla="*/ 102782 h 125125"/>
                  <a:gd name="connsiteX36" fmla="*/ 14696 w 237705"/>
                  <a:gd name="connsiteY36" fmla="*/ 109166 h 125125"/>
                  <a:gd name="connsiteX37" fmla="*/ 21086 w 237705"/>
                  <a:gd name="connsiteY37" fmla="*/ 102782 h 125125"/>
                  <a:gd name="connsiteX38" fmla="*/ 21086 w 237705"/>
                  <a:gd name="connsiteY38" fmla="*/ 68947 h 125125"/>
                  <a:gd name="connsiteX39" fmla="*/ 23642 w 237705"/>
                  <a:gd name="connsiteY39" fmla="*/ 68947 h 125125"/>
                  <a:gd name="connsiteX40" fmla="*/ 23642 w 237705"/>
                  <a:gd name="connsiteY40" fmla="*/ 110443 h 125125"/>
                  <a:gd name="connsiteX41" fmla="*/ 30032 w 237705"/>
                  <a:gd name="connsiteY41" fmla="*/ 116827 h 125125"/>
                  <a:gd name="connsiteX42" fmla="*/ 36422 w 237705"/>
                  <a:gd name="connsiteY42" fmla="*/ 110443 h 125125"/>
                  <a:gd name="connsiteX43" fmla="*/ 36422 w 237705"/>
                  <a:gd name="connsiteY43" fmla="*/ 68947 h 125125"/>
                  <a:gd name="connsiteX44" fmla="*/ 38978 w 237705"/>
                  <a:gd name="connsiteY44" fmla="*/ 68947 h 125125"/>
                  <a:gd name="connsiteX45" fmla="*/ 38978 w 237705"/>
                  <a:gd name="connsiteY45" fmla="*/ 118742 h 125125"/>
                  <a:gd name="connsiteX46" fmla="*/ 45368 w 237705"/>
                  <a:gd name="connsiteY46" fmla="*/ 125126 h 125125"/>
                  <a:gd name="connsiteX47" fmla="*/ 51758 w 237705"/>
                  <a:gd name="connsiteY47" fmla="*/ 118742 h 125125"/>
                  <a:gd name="connsiteX48" fmla="*/ 51758 w 237705"/>
                  <a:gd name="connsiteY48" fmla="*/ 68947 h 125125"/>
                  <a:gd name="connsiteX49" fmla="*/ 185947 w 237705"/>
                  <a:gd name="connsiteY49" fmla="*/ 68947 h 125125"/>
                  <a:gd name="connsiteX50" fmla="*/ 185947 w 237705"/>
                  <a:gd name="connsiteY50" fmla="*/ 118742 h 125125"/>
                  <a:gd name="connsiteX51" fmla="*/ 192337 w 237705"/>
                  <a:gd name="connsiteY51" fmla="*/ 125126 h 125125"/>
                  <a:gd name="connsiteX52" fmla="*/ 198727 w 237705"/>
                  <a:gd name="connsiteY52" fmla="*/ 118742 h 125125"/>
                  <a:gd name="connsiteX53" fmla="*/ 198727 w 237705"/>
                  <a:gd name="connsiteY53" fmla="*/ 68947 h 125125"/>
                  <a:gd name="connsiteX54" fmla="*/ 201283 w 237705"/>
                  <a:gd name="connsiteY54" fmla="*/ 68947 h 125125"/>
                  <a:gd name="connsiteX55" fmla="*/ 201283 w 237705"/>
                  <a:gd name="connsiteY55" fmla="*/ 110443 h 125125"/>
                  <a:gd name="connsiteX56" fmla="*/ 207673 w 237705"/>
                  <a:gd name="connsiteY56" fmla="*/ 116827 h 125125"/>
                  <a:gd name="connsiteX57" fmla="*/ 214063 w 237705"/>
                  <a:gd name="connsiteY57" fmla="*/ 110443 h 125125"/>
                  <a:gd name="connsiteX58" fmla="*/ 214063 w 237705"/>
                  <a:gd name="connsiteY58" fmla="*/ 68947 h 125125"/>
                  <a:gd name="connsiteX59" fmla="*/ 216618 w 237705"/>
                  <a:gd name="connsiteY59" fmla="*/ 68947 h 125125"/>
                  <a:gd name="connsiteX60" fmla="*/ 216618 w 237705"/>
                  <a:gd name="connsiteY60" fmla="*/ 102782 h 125125"/>
                  <a:gd name="connsiteX61" fmla="*/ 223008 w 237705"/>
                  <a:gd name="connsiteY61" fmla="*/ 109166 h 125125"/>
                  <a:gd name="connsiteX62" fmla="*/ 229398 w 237705"/>
                  <a:gd name="connsiteY62" fmla="*/ 102782 h 125125"/>
                  <a:gd name="connsiteX63" fmla="*/ 229398 w 237705"/>
                  <a:gd name="connsiteY63" fmla="*/ 68947 h 125125"/>
                  <a:gd name="connsiteX64" fmla="*/ 231315 w 237705"/>
                  <a:gd name="connsiteY64" fmla="*/ 68947 h 125125"/>
                  <a:gd name="connsiteX65" fmla="*/ 237705 w 237705"/>
                  <a:gd name="connsiteY65" fmla="*/ 62563 h 125125"/>
                  <a:gd name="connsiteX66" fmla="*/ 231315 w 237705"/>
                  <a:gd name="connsiteY66" fmla="*/ 56179 h 12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37705" h="125125">
                    <a:moveTo>
                      <a:pt x="231315" y="56179"/>
                    </a:moveTo>
                    <a:lnTo>
                      <a:pt x="229398" y="56179"/>
                    </a:lnTo>
                    <a:lnTo>
                      <a:pt x="229398" y="22344"/>
                    </a:lnTo>
                    <a:cubicBezTo>
                      <a:pt x="229398" y="18513"/>
                      <a:pt x="226843" y="15960"/>
                      <a:pt x="223008" y="15960"/>
                    </a:cubicBezTo>
                    <a:cubicBezTo>
                      <a:pt x="219174" y="15960"/>
                      <a:pt x="216618" y="18513"/>
                      <a:pt x="216618" y="22344"/>
                    </a:cubicBezTo>
                    <a:lnTo>
                      <a:pt x="216618" y="56179"/>
                    </a:lnTo>
                    <a:lnTo>
                      <a:pt x="214063" y="56179"/>
                    </a:lnTo>
                    <a:lnTo>
                      <a:pt x="214063" y="14683"/>
                    </a:lnTo>
                    <a:cubicBezTo>
                      <a:pt x="214063" y="10853"/>
                      <a:pt x="211507" y="8299"/>
                      <a:pt x="207673" y="8299"/>
                    </a:cubicBezTo>
                    <a:cubicBezTo>
                      <a:pt x="203838" y="8299"/>
                      <a:pt x="201283" y="10853"/>
                      <a:pt x="201283" y="14683"/>
                    </a:cubicBezTo>
                    <a:lnTo>
                      <a:pt x="201283" y="56179"/>
                    </a:lnTo>
                    <a:lnTo>
                      <a:pt x="198727" y="56179"/>
                    </a:lnTo>
                    <a:lnTo>
                      <a:pt x="198727" y="6384"/>
                    </a:lnTo>
                    <a:cubicBezTo>
                      <a:pt x="198727" y="2553"/>
                      <a:pt x="196171" y="0"/>
                      <a:pt x="192337" y="0"/>
                    </a:cubicBezTo>
                    <a:cubicBezTo>
                      <a:pt x="188503" y="0"/>
                      <a:pt x="185947" y="2553"/>
                      <a:pt x="185947" y="6384"/>
                    </a:cubicBezTo>
                    <a:lnTo>
                      <a:pt x="185947" y="56179"/>
                    </a:lnTo>
                    <a:lnTo>
                      <a:pt x="51758" y="56179"/>
                    </a:lnTo>
                    <a:lnTo>
                      <a:pt x="51758" y="6384"/>
                    </a:lnTo>
                    <a:cubicBezTo>
                      <a:pt x="51758" y="2553"/>
                      <a:pt x="49202" y="0"/>
                      <a:pt x="45368" y="0"/>
                    </a:cubicBezTo>
                    <a:cubicBezTo>
                      <a:pt x="41535" y="0"/>
                      <a:pt x="38978" y="2553"/>
                      <a:pt x="38978" y="6384"/>
                    </a:cubicBezTo>
                    <a:lnTo>
                      <a:pt x="38978" y="56179"/>
                    </a:lnTo>
                    <a:lnTo>
                      <a:pt x="36422" y="56179"/>
                    </a:lnTo>
                    <a:lnTo>
                      <a:pt x="36422" y="14683"/>
                    </a:lnTo>
                    <a:cubicBezTo>
                      <a:pt x="36422" y="10853"/>
                      <a:pt x="33866" y="8299"/>
                      <a:pt x="30032" y="8299"/>
                    </a:cubicBezTo>
                    <a:cubicBezTo>
                      <a:pt x="26199" y="8299"/>
                      <a:pt x="23642" y="10853"/>
                      <a:pt x="23642" y="14683"/>
                    </a:cubicBezTo>
                    <a:lnTo>
                      <a:pt x="23642" y="56179"/>
                    </a:lnTo>
                    <a:lnTo>
                      <a:pt x="21086" y="56179"/>
                    </a:lnTo>
                    <a:lnTo>
                      <a:pt x="21086" y="22344"/>
                    </a:lnTo>
                    <a:cubicBezTo>
                      <a:pt x="21086" y="18513"/>
                      <a:pt x="18530" y="15960"/>
                      <a:pt x="14696" y="15960"/>
                    </a:cubicBezTo>
                    <a:cubicBezTo>
                      <a:pt x="10863" y="15960"/>
                      <a:pt x="8306" y="18513"/>
                      <a:pt x="8306" y="22344"/>
                    </a:cubicBezTo>
                    <a:lnTo>
                      <a:pt x="8306" y="56179"/>
                    </a:lnTo>
                    <a:lnTo>
                      <a:pt x="6390" y="56179"/>
                    </a:lnTo>
                    <a:cubicBezTo>
                      <a:pt x="2555" y="56179"/>
                      <a:pt x="0" y="58733"/>
                      <a:pt x="0" y="62563"/>
                    </a:cubicBezTo>
                    <a:cubicBezTo>
                      <a:pt x="0" y="66393"/>
                      <a:pt x="2555" y="68947"/>
                      <a:pt x="6390" y="68947"/>
                    </a:cubicBezTo>
                    <a:lnTo>
                      <a:pt x="8306" y="68947"/>
                    </a:lnTo>
                    <a:lnTo>
                      <a:pt x="8306" y="102782"/>
                    </a:lnTo>
                    <a:cubicBezTo>
                      <a:pt x="8306" y="106613"/>
                      <a:pt x="10863" y="109166"/>
                      <a:pt x="14696" y="109166"/>
                    </a:cubicBezTo>
                    <a:cubicBezTo>
                      <a:pt x="18530" y="109166"/>
                      <a:pt x="21086" y="106613"/>
                      <a:pt x="21086" y="102782"/>
                    </a:cubicBezTo>
                    <a:lnTo>
                      <a:pt x="21086" y="68947"/>
                    </a:lnTo>
                    <a:lnTo>
                      <a:pt x="23642" y="68947"/>
                    </a:lnTo>
                    <a:lnTo>
                      <a:pt x="23642" y="110443"/>
                    </a:lnTo>
                    <a:cubicBezTo>
                      <a:pt x="23642" y="114273"/>
                      <a:pt x="26199" y="116827"/>
                      <a:pt x="30032" y="116827"/>
                    </a:cubicBezTo>
                    <a:cubicBezTo>
                      <a:pt x="33866" y="116827"/>
                      <a:pt x="36422" y="114273"/>
                      <a:pt x="36422" y="110443"/>
                    </a:cubicBezTo>
                    <a:lnTo>
                      <a:pt x="36422" y="68947"/>
                    </a:lnTo>
                    <a:lnTo>
                      <a:pt x="38978" y="68947"/>
                    </a:lnTo>
                    <a:lnTo>
                      <a:pt x="38978" y="118742"/>
                    </a:lnTo>
                    <a:cubicBezTo>
                      <a:pt x="38978" y="122573"/>
                      <a:pt x="41535" y="125126"/>
                      <a:pt x="45368" y="125126"/>
                    </a:cubicBezTo>
                    <a:cubicBezTo>
                      <a:pt x="49202" y="125126"/>
                      <a:pt x="51758" y="122573"/>
                      <a:pt x="51758" y="118742"/>
                    </a:cubicBezTo>
                    <a:lnTo>
                      <a:pt x="51758" y="68947"/>
                    </a:lnTo>
                    <a:lnTo>
                      <a:pt x="185947" y="68947"/>
                    </a:lnTo>
                    <a:lnTo>
                      <a:pt x="185947" y="118742"/>
                    </a:lnTo>
                    <a:cubicBezTo>
                      <a:pt x="185947" y="122573"/>
                      <a:pt x="188503" y="125126"/>
                      <a:pt x="192337" y="125126"/>
                    </a:cubicBezTo>
                    <a:cubicBezTo>
                      <a:pt x="196171" y="125126"/>
                      <a:pt x="198727" y="122573"/>
                      <a:pt x="198727" y="118742"/>
                    </a:cubicBezTo>
                    <a:lnTo>
                      <a:pt x="198727" y="68947"/>
                    </a:lnTo>
                    <a:lnTo>
                      <a:pt x="201283" y="68947"/>
                    </a:lnTo>
                    <a:lnTo>
                      <a:pt x="201283" y="110443"/>
                    </a:lnTo>
                    <a:cubicBezTo>
                      <a:pt x="201283" y="114273"/>
                      <a:pt x="203838" y="116827"/>
                      <a:pt x="207673" y="116827"/>
                    </a:cubicBezTo>
                    <a:cubicBezTo>
                      <a:pt x="211507" y="116827"/>
                      <a:pt x="214063" y="114273"/>
                      <a:pt x="214063" y="110443"/>
                    </a:cubicBezTo>
                    <a:lnTo>
                      <a:pt x="214063" y="68947"/>
                    </a:lnTo>
                    <a:lnTo>
                      <a:pt x="216618" y="68947"/>
                    </a:lnTo>
                    <a:lnTo>
                      <a:pt x="216618" y="102782"/>
                    </a:lnTo>
                    <a:cubicBezTo>
                      <a:pt x="216618" y="106613"/>
                      <a:pt x="219174" y="109166"/>
                      <a:pt x="223008" y="109166"/>
                    </a:cubicBezTo>
                    <a:cubicBezTo>
                      <a:pt x="226843" y="109166"/>
                      <a:pt x="229398" y="106613"/>
                      <a:pt x="229398" y="102782"/>
                    </a:cubicBezTo>
                    <a:lnTo>
                      <a:pt x="229398" y="68947"/>
                    </a:lnTo>
                    <a:lnTo>
                      <a:pt x="231315" y="68947"/>
                    </a:lnTo>
                    <a:cubicBezTo>
                      <a:pt x="235149" y="68947"/>
                      <a:pt x="237705" y="66393"/>
                      <a:pt x="237705" y="62563"/>
                    </a:cubicBezTo>
                    <a:cubicBezTo>
                      <a:pt x="237705" y="58733"/>
                      <a:pt x="235149" y="56179"/>
                      <a:pt x="231315" y="56179"/>
                    </a:cubicBezTo>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sp>
        <p:nvSpPr>
          <p:cNvPr id="80" name="Hexagon 79">
            <a:extLst>
              <a:ext uri="{FF2B5EF4-FFF2-40B4-BE49-F238E27FC236}">
                <a16:creationId xmlns:a16="http://schemas.microsoft.com/office/drawing/2014/main" id="{41749301-13D2-AF7E-DBFA-8E64895D25B4}"/>
              </a:ext>
            </a:extLst>
          </p:cNvPr>
          <p:cNvSpPr/>
          <p:nvPr/>
        </p:nvSpPr>
        <p:spPr bwMode="gray">
          <a:xfrm>
            <a:off x="4033208" y="2080230"/>
            <a:ext cx="2133285" cy="1839039"/>
          </a:xfrm>
          <a:prstGeom prst="hexagon">
            <a:avLst/>
          </a:prstGeom>
          <a:solidFill>
            <a:srgbClr val="00206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Light"/>
              <a:ea typeface="+mn-ea"/>
              <a:cs typeface="+mn-cs"/>
            </a:endParaRPr>
          </a:p>
        </p:txBody>
      </p:sp>
      <p:sp>
        <p:nvSpPr>
          <p:cNvPr id="81" name="Pentagon 14">
            <a:extLst>
              <a:ext uri="{FF2B5EF4-FFF2-40B4-BE49-F238E27FC236}">
                <a16:creationId xmlns:a16="http://schemas.microsoft.com/office/drawing/2014/main" id="{DE963791-B248-9659-D035-0F127275C599}"/>
              </a:ext>
            </a:extLst>
          </p:cNvPr>
          <p:cNvSpPr/>
          <p:nvPr/>
        </p:nvSpPr>
        <p:spPr bwMode="gray">
          <a:xfrm>
            <a:off x="597673" y="2360929"/>
            <a:ext cx="5228807" cy="1277639"/>
          </a:xfrm>
          <a:prstGeom prst="homePlate">
            <a:avLst>
              <a:gd name="adj" fmla="val 29778"/>
            </a:avLst>
          </a:prstGeom>
          <a:solidFill>
            <a:sysClr val="window" lastClr="FFFFFF"/>
          </a:solidFill>
          <a:ln w="25400" cap="flat" cmpd="sng" algn="ctr">
            <a:noFill/>
            <a:prstDash val="solid"/>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Light"/>
              <a:ea typeface="+mn-ea"/>
              <a:cs typeface="+mn-cs"/>
            </a:endParaRPr>
          </a:p>
        </p:txBody>
      </p:sp>
      <p:sp>
        <p:nvSpPr>
          <p:cNvPr id="84" name="Rectangle 83">
            <a:extLst>
              <a:ext uri="{FF2B5EF4-FFF2-40B4-BE49-F238E27FC236}">
                <a16:creationId xmlns:a16="http://schemas.microsoft.com/office/drawing/2014/main" id="{1522C5DB-CE46-94B0-A99E-E23B0FF892DE}"/>
              </a:ext>
            </a:extLst>
          </p:cNvPr>
          <p:cNvSpPr/>
          <p:nvPr/>
        </p:nvSpPr>
        <p:spPr>
          <a:xfrm>
            <a:off x="358141" y="2487880"/>
            <a:ext cx="4138068" cy="1015663"/>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2060"/>
                </a:solidFill>
                <a:effectLst/>
                <a:uLnTx/>
                <a:uFillTx/>
                <a:latin typeface="Calibri"/>
                <a:ea typeface="+mn-ea"/>
                <a:cs typeface="+mn-cs"/>
              </a:rPr>
              <a:t>What are the NCSR questions lik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a:ea typeface="+mn-ea"/>
                <a:cs typeface="+mn-cs"/>
              </a:rPr>
              <a:t>NCSR questions are based on industry leading standards (i.e., NIST CSF) and are intended to be answered by organizations of all maturity levels</a:t>
            </a:r>
            <a:endParaRPr kumimoji="0" lang="hu-HU" sz="1400" b="0" i="0" u="none" strike="noStrike" kern="0" cap="none" spc="0" normalizeH="0" baseline="0" noProof="0" dirty="0">
              <a:ln>
                <a:noFill/>
              </a:ln>
              <a:solidFill>
                <a:prstClr val="black"/>
              </a:solidFill>
              <a:effectLst/>
              <a:uLnTx/>
              <a:uFillTx/>
              <a:latin typeface="Calibri"/>
              <a:ea typeface="+mn-ea"/>
              <a:cs typeface="+mn-cs"/>
            </a:endParaRPr>
          </a:p>
        </p:txBody>
      </p:sp>
      <p:grpSp>
        <p:nvGrpSpPr>
          <p:cNvPr id="106" name="Graphic 4">
            <a:extLst>
              <a:ext uri="{FF2B5EF4-FFF2-40B4-BE49-F238E27FC236}">
                <a16:creationId xmlns:a16="http://schemas.microsoft.com/office/drawing/2014/main" id="{FC5F6B3E-581E-6CB6-4922-84BCA83F0D57}"/>
              </a:ext>
            </a:extLst>
          </p:cNvPr>
          <p:cNvGrpSpPr/>
          <p:nvPr/>
        </p:nvGrpSpPr>
        <p:grpSpPr>
          <a:xfrm>
            <a:off x="4640671" y="2588269"/>
            <a:ext cx="822960" cy="822960"/>
            <a:chOff x="3607758" y="4793256"/>
            <a:chExt cx="362309" cy="361971"/>
          </a:xfrm>
          <a:solidFill>
            <a:srgbClr val="002060"/>
          </a:solidFill>
        </p:grpSpPr>
        <p:sp>
          <p:nvSpPr>
            <p:cNvPr id="107" name="Graphic 4">
              <a:extLst>
                <a:ext uri="{FF2B5EF4-FFF2-40B4-BE49-F238E27FC236}">
                  <a16:creationId xmlns:a16="http://schemas.microsoft.com/office/drawing/2014/main" id="{826AE0E6-37EC-92F9-FE89-9180F391A104}"/>
                </a:ext>
              </a:extLst>
            </p:cNvPr>
            <p:cNvSpPr/>
            <p:nvPr/>
          </p:nvSpPr>
          <p:spPr>
            <a:xfrm>
              <a:off x="3607758" y="479325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8565 h 361971"/>
                <a:gd name="connsiteX8" fmla="*/ 12780 w 362309"/>
                <a:gd name="connsiteY8" fmla="*/ 180667 h 361971"/>
                <a:gd name="connsiteX9" fmla="*/ 180836 w 362309"/>
                <a:gd name="connsiteY9" fmla="*/ 12129 h 361971"/>
                <a:gd name="connsiteX10" fmla="*/ 349530 w 362309"/>
                <a:gd name="connsiteY10" fmla="*/ 180028 h 361971"/>
                <a:gd name="connsiteX11" fmla="*/ 349530 w 362309"/>
                <a:gd name="connsiteY11" fmla="*/ 180028 h 361971"/>
                <a:gd name="connsiteX12" fmla="*/ 181474 w 362309"/>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cubicBezTo>
                    <a:pt x="362310" y="181305"/>
                    <a:pt x="362310" y="181305"/>
                    <a:pt x="362310" y="181305"/>
                  </a:cubicBezTo>
                  <a:cubicBezTo>
                    <a:pt x="362310" y="80438"/>
                    <a:pt x="281796" y="0"/>
                    <a:pt x="181474" y="0"/>
                  </a:cubicBezTo>
                  <a:cubicBezTo>
                    <a:pt x="181474" y="0"/>
                    <a:pt x="181474" y="0"/>
                    <a:pt x="181474" y="0"/>
                  </a:cubicBezTo>
                  <a:close/>
                  <a:moveTo>
                    <a:pt x="181474" y="348565"/>
                  </a:moveTo>
                  <a:cubicBezTo>
                    <a:pt x="88181" y="348565"/>
                    <a:pt x="12780" y="273234"/>
                    <a:pt x="12780" y="180667"/>
                  </a:cubicBezTo>
                  <a:cubicBezTo>
                    <a:pt x="12780" y="88099"/>
                    <a:pt x="88181" y="12129"/>
                    <a:pt x="180836" y="12129"/>
                  </a:cubicBezTo>
                  <a:cubicBezTo>
                    <a:pt x="274128" y="12129"/>
                    <a:pt x="349530" y="87461"/>
                    <a:pt x="349530" y="180028"/>
                  </a:cubicBezTo>
                  <a:lnTo>
                    <a:pt x="349530" y="180028"/>
                  </a:lnTo>
                  <a:cubicBezTo>
                    <a:pt x="349530" y="273234"/>
                    <a:pt x="274128" y="348565"/>
                    <a:pt x="181474" y="34856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8" name="Graphic 4">
              <a:extLst>
                <a:ext uri="{FF2B5EF4-FFF2-40B4-BE49-F238E27FC236}">
                  <a16:creationId xmlns:a16="http://schemas.microsoft.com/office/drawing/2014/main" id="{2F3C54F4-77AB-2749-D1FF-F96F46DAC386}"/>
                </a:ext>
              </a:extLst>
            </p:cNvPr>
            <p:cNvSpPr/>
            <p:nvPr/>
          </p:nvSpPr>
          <p:spPr>
            <a:xfrm>
              <a:off x="3766229" y="5046700"/>
              <a:ext cx="44729" cy="44687"/>
            </a:xfrm>
            <a:custGeom>
              <a:avLst/>
              <a:gdLst>
                <a:gd name="connsiteX0" fmla="*/ 22365 w 44729"/>
                <a:gd name="connsiteY0" fmla="*/ 0 h 44687"/>
                <a:gd name="connsiteX1" fmla="*/ 0 w 44729"/>
                <a:gd name="connsiteY1" fmla="*/ 22344 h 44687"/>
                <a:gd name="connsiteX2" fmla="*/ 22365 w 44729"/>
                <a:gd name="connsiteY2" fmla="*/ 44688 h 44687"/>
                <a:gd name="connsiteX3" fmla="*/ 44730 w 44729"/>
                <a:gd name="connsiteY3" fmla="*/ 22344 h 44687"/>
                <a:gd name="connsiteX4" fmla="*/ 44730 w 44729"/>
                <a:gd name="connsiteY4" fmla="*/ 22344 h 44687"/>
                <a:gd name="connsiteX5" fmla="*/ 22365 w 44729"/>
                <a:gd name="connsiteY5" fmla="*/ 0 h 44687"/>
                <a:gd name="connsiteX6" fmla="*/ 22365 w 44729"/>
                <a:gd name="connsiteY6" fmla="*/ 31920 h 44687"/>
                <a:gd name="connsiteX7" fmla="*/ 12780 w 44729"/>
                <a:gd name="connsiteY7" fmla="*/ 22344 h 44687"/>
                <a:gd name="connsiteX8" fmla="*/ 22365 w 44729"/>
                <a:gd name="connsiteY8" fmla="*/ 12768 h 44687"/>
                <a:gd name="connsiteX9" fmla="*/ 31950 w 44729"/>
                <a:gd name="connsiteY9" fmla="*/ 22344 h 44687"/>
                <a:gd name="connsiteX10" fmla="*/ 31950 w 44729"/>
                <a:gd name="connsiteY10" fmla="*/ 22344 h 44687"/>
                <a:gd name="connsiteX11" fmla="*/ 22365 w 44729"/>
                <a:gd name="connsiteY11" fmla="*/ 31920 h 44687"/>
                <a:gd name="connsiteX12" fmla="*/ 22365 w 44729"/>
                <a:gd name="connsiteY12" fmla="*/ 31920 h 4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729" h="44687">
                  <a:moveTo>
                    <a:pt x="22365" y="0"/>
                  </a:moveTo>
                  <a:cubicBezTo>
                    <a:pt x="10224" y="0"/>
                    <a:pt x="0" y="10214"/>
                    <a:pt x="0" y="22344"/>
                  </a:cubicBezTo>
                  <a:cubicBezTo>
                    <a:pt x="0" y="34473"/>
                    <a:pt x="10224" y="44688"/>
                    <a:pt x="22365" y="44688"/>
                  </a:cubicBezTo>
                  <a:cubicBezTo>
                    <a:pt x="34505" y="44688"/>
                    <a:pt x="44730" y="34473"/>
                    <a:pt x="44730" y="22344"/>
                  </a:cubicBezTo>
                  <a:lnTo>
                    <a:pt x="44730" y="22344"/>
                  </a:lnTo>
                  <a:cubicBezTo>
                    <a:pt x="44730" y="10214"/>
                    <a:pt x="34505" y="0"/>
                    <a:pt x="22365" y="0"/>
                  </a:cubicBezTo>
                  <a:close/>
                  <a:moveTo>
                    <a:pt x="22365" y="31920"/>
                  </a:moveTo>
                  <a:cubicBezTo>
                    <a:pt x="17253" y="31920"/>
                    <a:pt x="12780" y="27451"/>
                    <a:pt x="12780" y="22344"/>
                  </a:cubicBezTo>
                  <a:cubicBezTo>
                    <a:pt x="12780" y="17236"/>
                    <a:pt x="17253" y="12768"/>
                    <a:pt x="22365" y="12768"/>
                  </a:cubicBezTo>
                  <a:cubicBezTo>
                    <a:pt x="27477" y="12768"/>
                    <a:pt x="31950" y="17236"/>
                    <a:pt x="31950" y="22344"/>
                  </a:cubicBezTo>
                  <a:lnTo>
                    <a:pt x="31950" y="22344"/>
                  </a:lnTo>
                  <a:cubicBezTo>
                    <a:pt x="31950" y="28089"/>
                    <a:pt x="27477" y="31920"/>
                    <a:pt x="22365" y="31920"/>
                  </a:cubicBezTo>
                  <a:lnTo>
                    <a:pt x="22365" y="3192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Graphic 4">
              <a:extLst>
                <a:ext uri="{FF2B5EF4-FFF2-40B4-BE49-F238E27FC236}">
                  <a16:creationId xmlns:a16="http://schemas.microsoft.com/office/drawing/2014/main" id="{023D0315-4A2B-B79A-1735-A55312CA0571}"/>
                </a:ext>
              </a:extLst>
            </p:cNvPr>
            <p:cNvSpPr/>
            <p:nvPr/>
          </p:nvSpPr>
          <p:spPr>
            <a:xfrm>
              <a:off x="3719582" y="4856457"/>
              <a:ext cx="137838" cy="172367"/>
            </a:xfrm>
            <a:custGeom>
              <a:avLst/>
              <a:gdLst>
                <a:gd name="connsiteX0" fmla="*/ 69012 w 137838"/>
                <a:gd name="connsiteY0" fmla="*/ 0 h 172367"/>
                <a:gd name="connsiteX1" fmla="*/ 0 w 137838"/>
                <a:gd name="connsiteY1" fmla="*/ 58733 h 172367"/>
                <a:gd name="connsiteX2" fmla="*/ 0 w 137838"/>
                <a:gd name="connsiteY2" fmla="*/ 61925 h 172367"/>
                <a:gd name="connsiteX3" fmla="*/ 5751 w 137838"/>
                <a:gd name="connsiteY3" fmla="*/ 68309 h 172367"/>
                <a:gd name="connsiteX4" fmla="*/ 37701 w 137838"/>
                <a:gd name="connsiteY4" fmla="*/ 70862 h 172367"/>
                <a:gd name="connsiteX5" fmla="*/ 44091 w 137838"/>
                <a:gd name="connsiteY5" fmla="*/ 65755 h 172367"/>
                <a:gd name="connsiteX6" fmla="*/ 74762 w 137838"/>
                <a:gd name="connsiteY6" fmla="*/ 46603 h 172367"/>
                <a:gd name="connsiteX7" fmla="*/ 94571 w 137838"/>
                <a:gd name="connsiteY7" fmla="*/ 70224 h 172367"/>
                <a:gd name="connsiteX8" fmla="*/ 69012 w 137838"/>
                <a:gd name="connsiteY8" fmla="*/ 95760 h 172367"/>
                <a:gd name="connsiteX9" fmla="*/ 53037 w 137838"/>
                <a:gd name="connsiteY9" fmla="*/ 95760 h 172367"/>
                <a:gd name="connsiteX10" fmla="*/ 48564 w 137838"/>
                <a:gd name="connsiteY10" fmla="*/ 97675 h 172367"/>
                <a:gd name="connsiteX11" fmla="*/ 46647 w 137838"/>
                <a:gd name="connsiteY11" fmla="*/ 102144 h 172367"/>
                <a:gd name="connsiteX12" fmla="*/ 46647 w 137838"/>
                <a:gd name="connsiteY12" fmla="*/ 165984 h 172367"/>
                <a:gd name="connsiteX13" fmla="*/ 53037 w 137838"/>
                <a:gd name="connsiteY13" fmla="*/ 172368 h 172367"/>
                <a:gd name="connsiteX14" fmla="*/ 84986 w 137838"/>
                <a:gd name="connsiteY14" fmla="*/ 172368 h 172367"/>
                <a:gd name="connsiteX15" fmla="*/ 91376 w 137838"/>
                <a:gd name="connsiteY15" fmla="*/ 165984 h 172367"/>
                <a:gd name="connsiteX16" fmla="*/ 91376 w 137838"/>
                <a:gd name="connsiteY16" fmla="*/ 136617 h 172367"/>
                <a:gd name="connsiteX17" fmla="*/ 133550 w 137838"/>
                <a:gd name="connsiteY17" fmla="*/ 46603 h 172367"/>
                <a:gd name="connsiteX18" fmla="*/ 69012 w 137838"/>
                <a:gd name="connsiteY18" fmla="*/ 0 h 172367"/>
                <a:gd name="connsiteX19" fmla="*/ 69012 w 137838"/>
                <a:gd name="connsiteY19" fmla="*/ 0 h 172367"/>
                <a:gd name="connsiteX20" fmla="*/ 83069 w 137838"/>
                <a:gd name="connsiteY20" fmla="*/ 125126 h 172367"/>
                <a:gd name="connsiteX21" fmla="*/ 77957 w 137838"/>
                <a:gd name="connsiteY21" fmla="*/ 131510 h 172367"/>
                <a:gd name="connsiteX22" fmla="*/ 77957 w 137838"/>
                <a:gd name="connsiteY22" fmla="*/ 158961 h 172367"/>
                <a:gd name="connsiteX23" fmla="*/ 58788 w 137838"/>
                <a:gd name="connsiteY23" fmla="*/ 158961 h 172367"/>
                <a:gd name="connsiteX24" fmla="*/ 58788 w 137838"/>
                <a:gd name="connsiteY24" fmla="*/ 107889 h 172367"/>
                <a:gd name="connsiteX25" fmla="*/ 68372 w 137838"/>
                <a:gd name="connsiteY25" fmla="*/ 107889 h 172367"/>
                <a:gd name="connsiteX26" fmla="*/ 106712 w 137838"/>
                <a:gd name="connsiteY26" fmla="*/ 69586 h 172367"/>
                <a:gd name="connsiteX27" fmla="*/ 67734 w 137838"/>
                <a:gd name="connsiteY27" fmla="*/ 31920 h 172367"/>
                <a:gd name="connsiteX28" fmla="*/ 32589 w 137838"/>
                <a:gd name="connsiteY28" fmla="*/ 57456 h 172367"/>
                <a:gd name="connsiteX29" fmla="*/ 13419 w 137838"/>
                <a:gd name="connsiteY29" fmla="*/ 56179 h 172367"/>
                <a:gd name="connsiteX30" fmla="*/ 83069 w 137838"/>
                <a:gd name="connsiteY30" fmla="*/ 13407 h 172367"/>
                <a:gd name="connsiteX31" fmla="*/ 125882 w 137838"/>
                <a:gd name="connsiteY31" fmla="*/ 82992 h 172367"/>
                <a:gd name="connsiteX32" fmla="*/ 83069 w 137838"/>
                <a:gd name="connsiteY32" fmla="*/ 125126 h 172367"/>
                <a:gd name="connsiteX33" fmla="*/ 83069 w 137838"/>
                <a:gd name="connsiteY33" fmla="*/ 125126 h 17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7838" h="172367">
                  <a:moveTo>
                    <a:pt x="69012" y="0"/>
                  </a:moveTo>
                  <a:cubicBezTo>
                    <a:pt x="34506" y="0"/>
                    <a:pt x="5112" y="24898"/>
                    <a:pt x="0" y="58733"/>
                  </a:cubicBezTo>
                  <a:cubicBezTo>
                    <a:pt x="0" y="60010"/>
                    <a:pt x="0" y="61925"/>
                    <a:pt x="0" y="61925"/>
                  </a:cubicBezTo>
                  <a:cubicBezTo>
                    <a:pt x="0" y="65117"/>
                    <a:pt x="2556" y="68309"/>
                    <a:pt x="5751" y="68309"/>
                  </a:cubicBezTo>
                  <a:lnTo>
                    <a:pt x="37701" y="70862"/>
                  </a:lnTo>
                  <a:cubicBezTo>
                    <a:pt x="40896" y="70862"/>
                    <a:pt x="43452" y="68947"/>
                    <a:pt x="44091" y="65755"/>
                  </a:cubicBezTo>
                  <a:cubicBezTo>
                    <a:pt x="47286" y="51710"/>
                    <a:pt x="60704" y="43411"/>
                    <a:pt x="74762" y="46603"/>
                  </a:cubicBezTo>
                  <a:cubicBezTo>
                    <a:pt x="86264" y="49157"/>
                    <a:pt x="93932" y="58733"/>
                    <a:pt x="94571" y="70224"/>
                  </a:cubicBezTo>
                  <a:cubicBezTo>
                    <a:pt x="94571" y="84269"/>
                    <a:pt x="83069" y="95760"/>
                    <a:pt x="69012" y="95760"/>
                  </a:cubicBezTo>
                  <a:lnTo>
                    <a:pt x="53037" y="95760"/>
                  </a:lnTo>
                  <a:cubicBezTo>
                    <a:pt x="51119" y="95760"/>
                    <a:pt x="49842" y="96398"/>
                    <a:pt x="48564" y="97675"/>
                  </a:cubicBezTo>
                  <a:cubicBezTo>
                    <a:pt x="47286" y="98952"/>
                    <a:pt x="46647" y="100229"/>
                    <a:pt x="46647" y="102144"/>
                  </a:cubicBezTo>
                  <a:lnTo>
                    <a:pt x="46647" y="165984"/>
                  </a:lnTo>
                  <a:cubicBezTo>
                    <a:pt x="46647" y="169814"/>
                    <a:pt x="49203" y="172368"/>
                    <a:pt x="53037" y="172368"/>
                  </a:cubicBezTo>
                  <a:lnTo>
                    <a:pt x="84986" y="172368"/>
                  </a:lnTo>
                  <a:cubicBezTo>
                    <a:pt x="88820" y="172368"/>
                    <a:pt x="91376" y="169814"/>
                    <a:pt x="91376" y="165984"/>
                  </a:cubicBezTo>
                  <a:lnTo>
                    <a:pt x="91376" y="136617"/>
                  </a:lnTo>
                  <a:cubicBezTo>
                    <a:pt x="127799" y="123211"/>
                    <a:pt x="146969" y="82992"/>
                    <a:pt x="133550" y="46603"/>
                  </a:cubicBezTo>
                  <a:cubicBezTo>
                    <a:pt x="123965" y="18514"/>
                    <a:pt x="98405" y="639"/>
                    <a:pt x="69012" y="0"/>
                  </a:cubicBezTo>
                  <a:lnTo>
                    <a:pt x="69012" y="0"/>
                  </a:lnTo>
                  <a:close/>
                  <a:moveTo>
                    <a:pt x="83069" y="125126"/>
                  </a:moveTo>
                  <a:cubicBezTo>
                    <a:pt x="79874" y="125765"/>
                    <a:pt x="77957" y="128318"/>
                    <a:pt x="77957" y="131510"/>
                  </a:cubicBezTo>
                  <a:lnTo>
                    <a:pt x="77957" y="158961"/>
                  </a:lnTo>
                  <a:lnTo>
                    <a:pt x="58788" y="158961"/>
                  </a:lnTo>
                  <a:lnTo>
                    <a:pt x="58788" y="107889"/>
                  </a:lnTo>
                  <a:lnTo>
                    <a:pt x="68372" y="107889"/>
                  </a:lnTo>
                  <a:cubicBezTo>
                    <a:pt x="89459" y="107251"/>
                    <a:pt x="106073" y="90653"/>
                    <a:pt x="106712" y="69586"/>
                  </a:cubicBezTo>
                  <a:cubicBezTo>
                    <a:pt x="106073" y="48519"/>
                    <a:pt x="88820" y="31282"/>
                    <a:pt x="67734" y="31920"/>
                  </a:cubicBezTo>
                  <a:cubicBezTo>
                    <a:pt x="51759" y="31920"/>
                    <a:pt x="37701" y="42135"/>
                    <a:pt x="32589" y="57456"/>
                  </a:cubicBezTo>
                  <a:lnTo>
                    <a:pt x="13419" y="56179"/>
                  </a:lnTo>
                  <a:cubicBezTo>
                    <a:pt x="21087" y="25536"/>
                    <a:pt x="51759" y="6384"/>
                    <a:pt x="83069" y="13407"/>
                  </a:cubicBezTo>
                  <a:cubicBezTo>
                    <a:pt x="113741" y="21067"/>
                    <a:pt x="132911" y="51710"/>
                    <a:pt x="125882" y="82992"/>
                  </a:cubicBezTo>
                  <a:cubicBezTo>
                    <a:pt x="120770" y="103421"/>
                    <a:pt x="104156" y="120019"/>
                    <a:pt x="83069" y="125126"/>
                  </a:cubicBezTo>
                  <a:lnTo>
                    <a:pt x="83069" y="12512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44" name="Group 143">
            <a:extLst>
              <a:ext uri="{FF2B5EF4-FFF2-40B4-BE49-F238E27FC236}">
                <a16:creationId xmlns:a16="http://schemas.microsoft.com/office/drawing/2014/main" id="{EFB36E73-97C9-8B26-EE2F-B17A61BC9086}"/>
              </a:ext>
            </a:extLst>
          </p:cNvPr>
          <p:cNvGrpSpPr/>
          <p:nvPr/>
        </p:nvGrpSpPr>
        <p:grpSpPr>
          <a:xfrm>
            <a:off x="5958995" y="3039612"/>
            <a:ext cx="6067926" cy="1839039"/>
            <a:chOff x="5958995" y="3106273"/>
            <a:chExt cx="6067926" cy="1839039"/>
          </a:xfrm>
        </p:grpSpPr>
        <p:sp>
          <p:nvSpPr>
            <p:cNvPr id="86" name="Hexagon 85">
              <a:extLst>
                <a:ext uri="{FF2B5EF4-FFF2-40B4-BE49-F238E27FC236}">
                  <a16:creationId xmlns:a16="http://schemas.microsoft.com/office/drawing/2014/main" id="{697F662B-3998-30D5-F647-2990041A4D5B}"/>
                </a:ext>
              </a:extLst>
            </p:cNvPr>
            <p:cNvSpPr/>
            <p:nvPr/>
          </p:nvSpPr>
          <p:spPr bwMode="gray">
            <a:xfrm>
              <a:off x="5958995" y="3106273"/>
              <a:ext cx="2133285" cy="1839039"/>
            </a:xfrm>
            <a:prstGeom prst="hexagon">
              <a:avLst/>
            </a:prstGeom>
            <a:solidFill>
              <a:srgbClr val="00206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Light"/>
                <a:ea typeface="+mn-ea"/>
                <a:cs typeface="+mn-cs"/>
              </a:endParaRPr>
            </a:p>
          </p:txBody>
        </p:sp>
        <p:sp>
          <p:nvSpPr>
            <p:cNvPr id="88" name="Pentagon 13">
              <a:extLst>
                <a:ext uri="{FF2B5EF4-FFF2-40B4-BE49-F238E27FC236}">
                  <a16:creationId xmlns:a16="http://schemas.microsoft.com/office/drawing/2014/main" id="{C18BF81C-5843-EF48-124E-CCDB6E537EC9}"/>
                </a:ext>
              </a:extLst>
            </p:cNvPr>
            <p:cNvSpPr/>
            <p:nvPr/>
          </p:nvSpPr>
          <p:spPr bwMode="gray">
            <a:xfrm flipH="1">
              <a:off x="6266991" y="3386972"/>
              <a:ext cx="5260824" cy="1277639"/>
            </a:xfrm>
            <a:prstGeom prst="homePlate">
              <a:avLst>
                <a:gd name="adj" fmla="val 29778"/>
              </a:avLst>
            </a:prstGeom>
            <a:solidFill>
              <a:sysClr val="window" lastClr="FFFFFF"/>
            </a:solidFill>
            <a:ln w="25400" cap="flat" cmpd="sng" algn="ctr">
              <a:noFill/>
              <a:prstDash val="solid"/>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Light"/>
                <a:ea typeface="+mn-ea"/>
                <a:cs typeface="+mn-cs"/>
              </a:endParaRPr>
            </a:p>
          </p:txBody>
        </p:sp>
        <p:sp>
          <p:nvSpPr>
            <p:cNvPr id="90" name="Rectangle 89">
              <a:extLst>
                <a:ext uri="{FF2B5EF4-FFF2-40B4-BE49-F238E27FC236}">
                  <a16:creationId xmlns:a16="http://schemas.microsoft.com/office/drawing/2014/main" id="{C1160F80-EA7D-2765-C7C4-CC87CC9E6F87}"/>
                </a:ext>
              </a:extLst>
            </p:cNvPr>
            <p:cNvSpPr/>
            <p:nvPr/>
          </p:nvSpPr>
          <p:spPr>
            <a:xfrm>
              <a:off x="7554308" y="3488183"/>
              <a:ext cx="4472613"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2060"/>
                  </a:solidFill>
                  <a:effectLst/>
                  <a:uLnTx/>
                  <a:uFillTx/>
                  <a:latin typeface="Calibri"/>
                  <a:ea typeface="+mn-ea"/>
                  <a:cs typeface="+mn-cs"/>
                </a:rPr>
                <a:t>What support will be provid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a:ea typeface="+mn-ea"/>
                  <a:cs typeface="+mn-cs"/>
                </a:rPr>
                <a:t>We are here to help along the way – we will provi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a:ea typeface="+mn-ea"/>
                  <a:cs typeface="+mn-cs"/>
                </a:rPr>
                <a:t>webinars, FAQs/guides, working sessions, and office hours to support you!</a:t>
              </a:r>
            </a:p>
          </p:txBody>
        </p:sp>
        <p:grpSp>
          <p:nvGrpSpPr>
            <p:cNvPr id="110" name="Graphic 4">
              <a:extLst>
                <a:ext uri="{FF2B5EF4-FFF2-40B4-BE49-F238E27FC236}">
                  <a16:creationId xmlns:a16="http://schemas.microsoft.com/office/drawing/2014/main" id="{0C1448D6-850B-A95D-CF14-BF5833813EA7}"/>
                </a:ext>
              </a:extLst>
            </p:cNvPr>
            <p:cNvGrpSpPr>
              <a:grpSpLocks noChangeAspect="1"/>
            </p:cNvGrpSpPr>
            <p:nvPr/>
          </p:nvGrpSpPr>
          <p:grpSpPr>
            <a:xfrm>
              <a:off x="6610517" y="3614696"/>
              <a:ext cx="822960" cy="822193"/>
              <a:chOff x="3607758" y="4793256"/>
              <a:chExt cx="362309" cy="361971"/>
            </a:xfrm>
            <a:solidFill>
              <a:srgbClr val="002060"/>
            </a:solidFill>
          </p:grpSpPr>
          <p:sp>
            <p:nvSpPr>
              <p:cNvPr id="111" name="Graphic 4">
                <a:extLst>
                  <a:ext uri="{FF2B5EF4-FFF2-40B4-BE49-F238E27FC236}">
                    <a16:creationId xmlns:a16="http://schemas.microsoft.com/office/drawing/2014/main" id="{86EF65E9-9D91-E465-43A5-61984B9FE671}"/>
                  </a:ext>
                </a:extLst>
              </p:cNvPr>
              <p:cNvSpPr/>
              <p:nvPr/>
            </p:nvSpPr>
            <p:spPr>
              <a:xfrm>
                <a:off x="3607758" y="4793256"/>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81474 w 362309"/>
                  <a:gd name="connsiteY7" fmla="*/ 348565 h 361971"/>
                  <a:gd name="connsiteX8" fmla="*/ 12780 w 362309"/>
                  <a:gd name="connsiteY8" fmla="*/ 180667 h 361971"/>
                  <a:gd name="connsiteX9" fmla="*/ 180836 w 362309"/>
                  <a:gd name="connsiteY9" fmla="*/ 12129 h 361971"/>
                  <a:gd name="connsiteX10" fmla="*/ 349530 w 362309"/>
                  <a:gd name="connsiteY10" fmla="*/ 180028 h 361971"/>
                  <a:gd name="connsiteX11" fmla="*/ 349530 w 362309"/>
                  <a:gd name="connsiteY11" fmla="*/ 180028 h 361971"/>
                  <a:gd name="connsiteX12" fmla="*/ 181474 w 362309"/>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cubicBezTo>
                      <a:pt x="362310" y="181305"/>
                      <a:pt x="362310" y="181305"/>
                      <a:pt x="362310" y="181305"/>
                    </a:cubicBezTo>
                    <a:cubicBezTo>
                      <a:pt x="362310" y="80438"/>
                      <a:pt x="281796" y="0"/>
                      <a:pt x="181474" y="0"/>
                    </a:cubicBezTo>
                    <a:cubicBezTo>
                      <a:pt x="181474" y="0"/>
                      <a:pt x="181474" y="0"/>
                      <a:pt x="181474" y="0"/>
                    </a:cubicBezTo>
                    <a:close/>
                    <a:moveTo>
                      <a:pt x="181474" y="348565"/>
                    </a:moveTo>
                    <a:cubicBezTo>
                      <a:pt x="88181" y="348565"/>
                      <a:pt x="12780" y="273234"/>
                      <a:pt x="12780" y="180667"/>
                    </a:cubicBezTo>
                    <a:cubicBezTo>
                      <a:pt x="12780" y="88099"/>
                      <a:pt x="88181" y="12129"/>
                      <a:pt x="180836" y="12129"/>
                    </a:cubicBezTo>
                    <a:cubicBezTo>
                      <a:pt x="274128" y="12129"/>
                      <a:pt x="349530" y="87461"/>
                      <a:pt x="349530" y="180028"/>
                    </a:cubicBezTo>
                    <a:lnTo>
                      <a:pt x="349530" y="180028"/>
                    </a:lnTo>
                    <a:cubicBezTo>
                      <a:pt x="349530" y="273234"/>
                      <a:pt x="274128" y="348565"/>
                      <a:pt x="181474" y="34856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 name="Graphic 4">
                <a:extLst>
                  <a:ext uri="{FF2B5EF4-FFF2-40B4-BE49-F238E27FC236}">
                    <a16:creationId xmlns:a16="http://schemas.microsoft.com/office/drawing/2014/main" id="{9818783B-6F2F-D3CE-5A6B-0D2F4E3DC542}"/>
                  </a:ext>
                </a:extLst>
              </p:cNvPr>
              <p:cNvSpPr/>
              <p:nvPr/>
            </p:nvSpPr>
            <p:spPr>
              <a:xfrm>
                <a:off x="3723579" y="4918891"/>
                <a:ext cx="133222" cy="115679"/>
              </a:xfrm>
              <a:custGeom>
                <a:avLst/>
                <a:gdLst>
                  <a:gd name="connsiteX0" fmla="*/ 126357 w 133222"/>
                  <a:gd name="connsiteY0" fmla="*/ 94612 h 115679"/>
                  <a:gd name="connsiteX1" fmla="*/ 109744 w 133222"/>
                  <a:gd name="connsiteY1" fmla="*/ 85674 h 115679"/>
                  <a:gd name="connsiteX2" fmla="*/ 96964 w 133222"/>
                  <a:gd name="connsiteY2" fmla="*/ 84398 h 115679"/>
                  <a:gd name="connsiteX3" fmla="*/ 89935 w 133222"/>
                  <a:gd name="connsiteY3" fmla="*/ 80567 h 115679"/>
                  <a:gd name="connsiteX4" fmla="*/ 98881 w 133222"/>
                  <a:gd name="connsiteY4" fmla="*/ 19919 h 115679"/>
                  <a:gd name="connsiteX5" fmla="*/ 66931 w 133222"/>
                  <a:gd name="connsiteY5" fmla="*/ 129 h 115679"/>
                  <a:gd name="connsiteX6" fmla="*/ 34342 w 133222"/>
                  <a:gd name="connsiteY6" fmla="*/ 19281 h 115679"/>
                  <a:gd name="connsiteX7" fmla="*/ 45205 w 133222"/>
                  <a:gd name="connsiteY7" fmla="*/ 80567 h 115679"/>
                  <a:gd name="connsiteX8" fmla="*/ 38176 w 133222"/>
                  <a:gd name="connsiteY8" fmla="*/ 84398 h 115679"/>
                  <a:gd name="connsiteX9" fmla="*/ 25396 w 133222"/>
                  <a:gd name="connsiteY9" fmla="*/ 85674 h 115679"/>
                  <a:gd name="connsiteX10" fmla="*/ 8782 w 133222"/>
                  <a:gd name="connsiteY10" fmla="*/ 94612 h 115679"/>
                  <a:gd name="connsiteX11" fmla="*/ 1115 w 133222"/>
                  <a:gd name="connsiteY11" fmla="*/ 104826 h 115679"/>
                  <a:gd name="connsiteX12" fmla="*/ 2392 w 133222"/>
                  <a:gd name="connsiteY12" fmla="*/ 113764 h 115679"/>
                  <a:gd name="connsiteX13" fmla="*/ 11339 w 133222"/>
                  <a:gd name="connsiteY13" fmla="*/ 112487 h 115679"/>
                  <a:gd name="connsiteX14" fmla="*/ 19007 w 133222"/>
                  <a:gd name="connsiteY14" fmla="*/ 102273 h 115679"/>
                  <a:gd name="connsiteX15" fmla="*/ 26035 w 133222"/>
                  <a:gd name="connsiteY15" fmla="*/ 98442 h 115679"/>
                  <a:gd name="connsiteX16" fmla="*/ 38815 w 133222"/>
                  <a:gd name="connsiteY16" fmla="*/ 97165 h 115679"/>
                  <a:gd name="connsiteX17" fmla="*/ 56707 w 133222"/>
                  <a:gd name="connsiteY17" fmla="*/ 85674 h 115679"/>
                  <a:gd name="connsiteX18" fmla="*/ 54790 w 133222"/>
                  <a:gd name="connsiteY18" fmla="*/ 72906 h 115679"/>
                  <a:gd name="connsiteX19" fmla="*/ 45205 w 133222"/>
                  <a:gd name="connsiteY19" fmla="*/ 24388 h 115679"/>
                  <a:gd name="connsiteX20" fmla="*/ 65653 w 133222"/>
                  <a:gd name="connsiteY20" fmla="*/ 13535 h 115679"/>
                  <a:gd name="connsiteX21" fmla="*/ 85462 w 133222"/>
                  <a:gd name="connsiteY21" fmla="*/ 25027 h 115679"/>
                  <a:gd name="connsiteX22" fmla="*/ 78433 w 133222"/>
                  <a:gd name="connsiteY22" fmla="*/ 73545 h 115679"/>
                  <a:gd name="connsiteX23" fmla="*/ 76516 w 133222"/>
                  <a:gd name="connsiteY23" fmla="*/ 86313 h 115679"/>
                  <a:gd name="connsiteX24" fmla="*/ 94408 w 133222"/>
                  <a:gd name="connsiteY24" fmla="*/ 97804 h 115679"/>
                  <a:gd name="connsiteX25" fmla="*/ 107188 w 133222"/>
                  <a:gd name="connsiteY25" fmla="*/ 99081 h 115679"/>
                  <a:gd name="connsiteX26" fmla="*/ 114216 w 133222"/>
                  <a:gd name="connsiteY26" fmla="*/ 102911 h 115679"/>
                  <a:gd name="connsiteX27" fmla="*/ 121884 w 133222"/>
                  <a:gd name="connsiteY27" fmla="*/ 113125 h 115679"/>
                  <a:gd name="connsiteX28" fmla="*/ 126996 w 133222"/>
                  <a:gd name="connsiteY28" fmla="*/ 115679 h 115679"/>
                  <a:gd name="connsiteX29" fmla="*/ 130830 w 133222"/>
                  <a:gd name="connsiteY29" fmla="*/ 114402 h 115679"/>
                  <a:gd name="connsiteX30" fmla="*/ 132109 w 133222"/>
                  <a:gd name="connsiteY30" fmla="*/ 105465 h 115679"/>
                  <a:gd name="connsiteX31" fmla="*/ 132109 w 133222"/>
                  <a:gd name="connsiteY31" fmla="*/ 105465 h 115679"/>
                  <a:gd name="connsiteX32" fmla="*/ 126357 w 133222"/>
                  <a:gd name="connsiteY32" fmla="*/ 94612 h 115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3222" h="115679">
                    <a:moveTo>
                      <a:pt x="126357" y="94612"/>
                    </a:moveTo>
                    <a:cubicBezTo>
                      <a:pt x="122524" y="89505"/>
                      <a:pt x="116134" y="85674"/>
                      <a:pt x="109744" y="85674"/>
                    </a:cubicBezTo>
                    <a:lnTo>
                      <a:pt x="96964" y="84398"/>
                    </a:lnTo>
                    <a:cubicBezTo>
                      <a:pt x="94408" y="84398"/>
                      <a:pt x="91852" y="83121"/>
                      <a:pt x="89935" y="80567"/>
                    </a:cubicBezTo>
                    <a:cubicBezTo>
                      <a:pt x="97603" y="70991"/>
                      <a:pt x="107188" y="40348"/>
                      <a:pt x="98881" y="19919"/>
                    </a:cubicBezTo>
                    <a:cubicBezTo>
                      <a:pt x="93769" y="7151"/>
                      <a:pt x="80989" y="-1148"/>
                      <a:pt x="66931" y="129"/>
                    </a:cubicBezTo>
                    <a:cubicBezTo>
                      <a:pt x="46483" y="129"/>
                      <a:pt x="38176" y="10343"/>
                      <a:pt x="34342" y="19281"/>
                    </a:cubicBezTo>
                    <a:cubicBezTo>
                      <a:pt x="26035" y="40348"/>
                      <a:pt x="38176" y="70991"/>
                      <a:pt x="45205" y="80567"/>
                    </a:cubicBezTo>
                    <a:cubicBezTo>
                      <a:pt x="43288" y="82482"/>
                      <a:pt x="40732" y="83759"/>
                      <a:pt x="38176" y="84398"/>
                    </a:cubicBezTo>
                    <a:lnTo>
                      <a:pt x="25396" y="85674"/>
                    </a:lnTo>
                    <a:cubicBezTo>
                      <a:pt x="19007" y="86313"/>
                      <a:pt x="12617" y="89505"/>
                      <a:pt x="8782" y="94612"/>
                    </a:cubicBezTo>
                    <a:lnTo>
                      <a:pt x="1115" y="104826"/>
                    </a:lnTo>
                    <a:cubicBezTo>
                      <a:pt x="-802" y="107380"/>
                      <a:pt x="-163" y="111849"/>
                      <a:pt x="2392" y="113764"/>
                    </a:cubicBezTo>
                    <a:cubicBezTo>
                      <a:pt x="4949" y="115679"/>
                      <a:pt x="9422" y="115041"/>
                      <a:pt x="11339" y="112487"/>
                    </a:cubicBezTo>
                    <a:lnTo>
                      <a:pt x="19007" y="102273"/>
                    </a:lnTo>
                    <a:cubicBezTo>
                      <a:pt x="20923" y="99719"/>
                      <a:pt x="23480" y="98442"/>
                      <a:pt x="26035" y="98442"/>
                    </a:cubicBezTo>
                    <a:lnTo>
                      <a:pt x="38815" y="97165"/>
                    </a:lnTo>
                    <a:cubicBezTo>
                      <a:pt x="46483" y="96527"/>
                      <a:pt x="52873" y="92058"/>
                      <a:pt x="56707" y="85674"/>
                    </a:cubicBezTo>
                    <a:cubicBezTo>
                      <a:pt x="59263" y="81206"/>
                      <a:pt x="58624" y="76098"/>
                      <a:pt x="54790" y="72906"/>
                    </a:cubicBezTo>
                    <a:cubicBezTo>
                      <a:pt x="50317" y="69076"/>
                      <a:pt x="38815" y="40348"/>
                      <a:pt x="45205" y="24388"/>
                    </a:cubicBezTo>
                    <a:cubicBezTo>
                      <a:pt x="48400" y="16727"/>
                      <a:pt x="54790" y="13535"/>
                      <a:pt x="65653" y="13535"/>
                    </a:cubicBezTo>
                    <a:cubicBezTo>
                      <a:pt x="73960" y="12259"/>
                      <a:pt x="82267" y="17366"/>
                      <a:pt x="85462" y="25027"/>
                    </a:cubicBezTo>
                    <a:cubicBezTo>
                      <a:pt x="92491" y="41625"/>
                      <a:pt x="82267" y="69714"/>
                      <a:pt x="78433" y="73545"/>
                    </a:cubicBezTo>
                    <a:cubicBezTo>
                      <a:pt x="74599" y="76737"/>
                      <a:pt x="73960" y="81844"/>
                      <a:pt x="76516" y="86313"/>
                    </a:cubicBezTo>
                    <a:cubicBezTo>
                      <a:pt x="80350" y="92697"/>
                      <a:pt x="86740" y="97165"/>
                      <a:pt x="94408" y="97804"/>
                    </a:cubicBezTo>
                    <a:lnTo>
                      <a:pt x="107188" y="99081"/>
                    </a:lnTo>
                    <a:cubicBezTo>
                      <a:pt x="110383" y="99081"/>
                      <a:pt x="112939" y="100996"/>
                      <a:pt x="114216" y="102911"/>
                    </a:cubicBezTo>
                    <a:lnTo>
                      <a:pt x="121884" y="113125"/>
                    </a:lnTo>
                    <a:cubicBezTo>
                      <a:pt x="123162" y="115041"/>
                      <a:pt x="125079" y="115679"/>
                      <a:pt x="126996" y="115679"/>
                    </a:cubicBezTo>
                    <a:cubicBezTo>
                      <a:pt x="128274" y="115679"/>
                      <a:pt x="129552" y="115041"/>
                      <a:pt x="130830" y="114402"/>
                    </a:cubicBezTo>
                    <a:cubicBezTo>
                      <a:pt x="133386" y="112487"/>
                      <a:pt x="134025" y="108018"/>
                      <a:pt x="132109" y="105465"/>
                    </a:cubicBezTo>
                    <a:cubicBezTo>
                      <a:pt x="132109" y="105465"/>
                      <a:pt x="132109" y="105465"/>
                      <a:pt x="132109" y="105465"/>
                    </a:cubicBezTo>
                    <a:lnTo>
                      <a:pt x="126357" y="9461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Graphic 4">
                <a:extLst>
                  <a:ext uri="{FF2B5EF4-FFF2-40B4-BE49-F238E27FC236}">
                    <a16:creationId xmlns:a16="http://schemas.microsoft.com/office/drawing/2014/main" id="{28AF6C38-0D2C-F044-6F6E-E21CFE41196F}"/>
                  </a:ext>
                </a:extLst>
              </p:cNvPr>
              <p:cNvSpPr/>
              <p:nvPr/>
            </p:nvSpPr>
            <p:spPr>
              <a:xfrm>
                <a:off x="3827490" y="4913869"/>
                <a:ext cx="96311" cy="94526"/>
              </a:xfrm>
              <a:custGeom>
                <a:avLst/>
                <a:gdLst>
                  <a:gd name="connsiteX0" fmla="*/ 95292 w 96311"/>
                  <a:gd name="connsiteY0" fmla="*/ 84951 h 94526"/>
                  <a:gd name="connsiteX1" fmla="*/ 88902 w 96311"/>
                  <a:gd name="connsiteY1" fmla="*/ 76652 h 94526"/>
                  <a:gd name="connsiteX2" fmla="*/ 74845 w 96311"/>
                  <a:gd name="connsiteY2" fmla="*/ 68991 h 94526"/>
                  <a:gd name="connsiteX3" fmla="*/ 64620 w 96311"/>
                  <a:gd name="connsiteY3" fmla="*/ 68352 h 94526"/>
                  <a:gd name="connsiteX4" fmla="*/ 60148 w 96311"/>
                  <a:gd name="connsiteY4" fmla="*/ 66437 h 94526"/>
                  <a:gd name="connsiteX5" fmla="*/ 66538 w 96311"/>
                  <a:gd name="connsiteY5" fmla="*/ 16642 h 94526"/>
                  <a:gd name="connsiteX6" fmla="*/ 39700 w 96311"/>
                  <a:gd name="connsiteY6" fmla="*/ 44 h 94526"/>
                  <a:gd name="connsiteX7" fmla="*/ 12223 w 96311"/>
                  <a:gd name="connsiteY7" fmla="*/ 16004 h 94526"/>
                  <a:gd name="connsiteX8" fmla="*/ 20530 w 96311"/>
                  <a:gd name="connsiteY8" fmla="*/ 65799 h 94526"/>
                  <a:gd name="connsiteX9" fmla="*/ 16057 w 96311"/>
                  <a:gd name="connsiteY9" fmla="*/ 67714 h 94526"/>
                  <a:gd name="connsiteX10" fmla="*/ 5833 w 96311"/>
                  <a:gd name="connsiteY10" fmla="*/ 68352 h 94526"/>
                  <a:gd name="connsiteX11" fmla="*/ 82 w 96311"/>
                  <a:gd name="connsiteY11" fmla="*/ 75375 h 94526"/>
                  <a:gd name="connsiteX12" fmla="*/ 7111 w 96311"/>
                  <a:gd name="connsiteY12" fmla="*/ 81120 h 94526"/>
                  <a:gd name="connsiteX13" fmla="*/ 17335 w 96311"/>
                  <a:gd name="connsiteY13" fmla="*/ 80482 h 94526"/>
                  <a:gd name="connsiteX14" fmla="*/ 32671 w 96311"/>
                  <a:gd name="connsiteY14" fmla="*/ 70268 h 94526"/>
                  <a:gd name="connsiteX15" fmla="*/ 30754 w 96311"/>
                  <a:gd name="connsiteY15" fmla="*/ 58776 h 94526"/>
                  <a:gd name="connsiteX16" fmla="*/ 23086 w 96311"/>
                  <a:gd name="connsiteY16" fmla="*/ 20473 h 94526"/>
                  <a:gd name="connsiteX17" fmla="*/ 38422 w 96311"/>
                  <a:gd name="connsiteY17" fmla="*/ 12173 h 94526"/>
                  <a:gd name="connsiteX18" fmla="*/ 53119 w 96311"/>
                  <a:gd name="connsiteY18" fmla="*/ 20473 h 94526"/>
                  <a:gd name="connsiteX19" fmla="*/ 48007 w 96311"/>
                  <a:gd name="connsiteY19" fmla="*/ 58776 h 94526"/>
                  <a:gd name="connsiteX20" fmla="*/ 46090 w 96311"/>
                  <a:gd name="connsiteY20" fmla="*/ 70268 h 94526"/>
                  <a:gd name="connsiteX21" fmla="*/ 61425 w 96311"/>
                  <a:gd name="connsiteY21" fmla="*/ 80482 h 94526"/>
                  <a:gd name="connsiteX22" fmla="*/ 71650 w 96311"/>
                  <a:gd name="connsiteY22" fmla="*/ 81120 h 94526"/>
                  <a:gd name="connsiteX23" fmla="*/ 76761 w 96311"/>
                  <a:gd name="connsiteY23" fmla="*/ 83674 h 94526"/>
                  <a:gd name="connsiteX24" fmla="*/ 83151 w 96311"/>
                  <a:gd name="connsiteY24" fmla="*/ 91973 h 94526"/>
                  <a:gd name="connsiteX25" fmla="*/ 88263 w 96311"/>
                  <a:gd name="connsiteY25" fmla="*/ 94527 h 94526"/>
                  <a:gd name="connsiteX26" fmla="*/ 92097 w 96311"/>
                  <a:gd name="connsiteY26" fmla="*/ 93250 h 94526"/>
                  <a:gd name="connsiteX27" fmla="*/ 95292 w 96311"/>
                  <a:gd name="connsiteY27" fmla="*/ 84951 h 94526"/>
                  <a:gd name="connsiteX28" fmla="*/ 95292 w 96311"/>
                  <a:gd name="connsiteY28" fmla="*/ 84951 h 9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6311" h="94526">
                    <a:moveTo>
                      <a:pt x="95292" y="84951"/>
                    </a:moveTo>
                    <a:lnTo>
                      <a:pt x="88902" y="76652"/>
                    </a:lnTo>
                    <a:cubicBezTo>
                      <a:pt x="85708" y="72183"/>
                      <a:pt x="80595" y="68991"/>
                      <a:pt x="74845" y="68991"/>
                    </a:cubicBezTo>
                    <a:lnTo>
                      <a:pt x="64620" y="68352"/>
                    </a:lnTo>
                    <a:cubicBezTo>
                      <a:pt x="63343" y="68352"/>
                      <a:pt x="61425" y="67714"/>
                      <a:pt x="60148" y="66437"/>
                    </a:cubicBezTo>
                    <a:cubicBezTo>
                      <a:pt x="66538" y="57500"/>
                      <a:pt x="73566" y="33241"/>
                      <a:pt x="66538" y="16642"/>
                    </a:cubicBezTo>
                    <a:cubicBezTo>
                      <a:pt x="62065" y="5789"/>
                      <a:pt x="51202" y="-594"/>
                      <a:pt x="39700" y="44"/>
                    </a:cubicBezTo>
                    <a:cubicBezTo>
                      <a:pt x="22447" y="44"/>
                      <a:pt x="15418" y="8981"/>
                      <a:pt x="12223" y="16004"/>
                    </a:cubicBezTo>
                    <a:cubicBezTo>
                      <a:pt x="5833" y="32602"/>
                      <a:pt x="14779" y="57500"/>
                      <a:pt x="20530" y="65799"/>
                    </a:cubicBezTo>
                    <a:cubicBezTo>
                      <a:pt x="19252" y="67076"/>
                      <a:pt x="17974" y="67714"/>
                      <a:pt x="16057" y="67714"/>
                    </a:cubicBezTo>
                    <a:lnTo>
                      <a:pt x="5833" y="68352"/>
                    </a:lnTo>
                    <a:cubicBezTo>
                      <a:pt x="2638" y="68352"/>
                      <a:pt x="-557" y="71544"/>
                      <a:pt x="82" y="75375"/>
                    </a:cubicBezTo>
                    <a:cubicBezTo>
                      <a:pt x="82" y="78567"/>
                      <a:pt x="3277" y="81759"/>
                      <a:pt x="7111" y="81120"/>
                    </a:cubicBezTo>
                    <a:lnTo>
                      <a:pt x="17335" y="80482"/>
                    </a:lnTo>
                    <a:cubicBezTo>
                      <a:pt x="23725" y="79844"/>
                      <a:pt x="29476" y="76013"/>
                      <a:pt x="32671" y="70268"/>
                    </a:cubicBezTo>
                    <a:cubicBezTo>
                      <a:pt x="34588" y="66437"/>
                      <a:pt x="33949" y="61968"/>
                      <a:pt x="30754" y="58776"/>
                    </a:cubicBezTo>
                    <a:cubicBezTo>
                      <a:pt x="27559" y="55584"/>
                      <a:pt x="17974" y="32602"/>
                      <a:pt x="23086" y="20473"/>
                    </a:cubicBezTo>
                    <a:cubicBezTo>
                      <a:pt x="24364" y="17281"/>
                      <a:pt x="27559" y="12173"/>
                      <a:pt x="38422" y="12173"/>
                    </a:cubicBezTo>
                    <a:cubicBezTo>
                      <a:pt x="44812" y="11535"/>
                      <a:pt x="50563" y="14727"/>
                      <a:pt x="53119" y="20473"/>
                    </a:cubicBezTo>
                    <a:cubicBezTo>
                      <a:pt x="58230" y="33241"/>
                      <a:pt x="50563" y="55584"/>
                      <a:pt x="48007" y="58776"/>
                    </a:cubicBezTo>
                    <a:cubicBezTo>
                      <a:pt x="44812" y="61968"/>
                      <a:pt x="44173" y="66437"/>
                      <a:pt x="46090" y="70268"/>
                    </a:cubicBezTo>
                    <a:cubicBezTo>
                      <a:pt x="49285" y="76013"/>
                      <a:pt x="55036" y="79844"/>
                      <a:pt x="61425" y="80482"/>
                    </a:cubicBezTo>
                    <a:lnTo>
                      <a:pt x="71650" y="81120"/>
                    </a:lnTo>
                    <a:cubicBezTo>
                      <a:pt x="73566" y="81120"/>
                      <a:pt x="75483" y="82397"/>
                      <a:pt x="76761" y="83674"/>
                    </a:cubicBezTo>
                    <a:lnTo>
                      <a:pt x="83151" y="91973"/>
                    </a:lnTo>
                    <a:cubicBezTo>
                      <a:pt x="84429" y="93888"/>
                      <a:pt x="86346" y="94527"/>
                      <a:pt x="88263" y="94527"/>
                    </a:cubicBezTo>
                    <a:cubicBezTo>
                      <a:pt x="89541" y="94527"/>
                      <a:pt x="90819" y="93888"/>
                      <a:pt x="92097" y="93250"/>
                    </a:cubicBezTo>
                    <a:cubicBezTo>
                      <a:pt x="96570" y="91973"/>
                      <a:pt x="97209" y="88143"/>
                      <a:pt x="95292" y="84951"/>
                    </a:cubicBezTo>
                    <a:cubicBezTo>
                      <a:pt x="95292" y="84951"/>
                      <a:pt x="95292" y="84951"/>
                      <a:pt x="95292" y="8495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Graphic 4">
                <a:extLst>
                  <a:ext uri="{FF2B5EF4-FFF2-40B4-BE49-F238E27FC236}">
                    <a16:creationId xmlns:a16="http://schemas.microsoft.com/office/drawing/2014/main" id="{8150069D-FF51-CD3C-480F-2B3027640860}"/>
                  </a:ext>
                </a:extLst>
              </p:cNvPr>
              <p:cNvSpPr/>
              <p:nvPr/>
            </p:nvSpPr>
            <p:spPr>
              <a:xfrm>
                <a:off x="3653929" y="4914508"/>
                <a:ext cx="96324" cy="95164"/>
              </a:xfrm>
              <a:custGeom>
                <a:avLst/>
                <a:gdLst>
                  <a:gd name="connsiteX0" fmla="*/ 89296 w 96324"/>
                  <a:gd name="connsiteY0" fmla="*/ 81120 h 95164"/>
                  <a:gd name="connsiteX1" fmla="*/ 96325 w 96324"/>
                  <a:gd name="connsiteY1" fmla="*/ 75375 h 95164"/>
                  <a:gd name="connsiteX2" fmla="*/ 90574 w 96324"/>
                  <a:gd name="connsiteY2" fmla="*/ 68352 h 95164"/>
                  <a:gd name="connsiteX3" fmla="*/ 90574 w 96324"/>
                  <a:gd name="connsiteY3" fmla="*/ 68352 h 95164"/>
                  <a:gd name="connsiteX4" fmla="*/ 80350 w 96324"/>
                  <a:gd name="connsiteY4" fmla="*/ 67714 h 95164"/>
                  <a:gd name="connsiteX5" fmla="*/ 75877 w 96324"/>
                  <a:gd name="connsiteY5" fmla="*/ 65799 h 95164"/>
                  <a:gd name="connsiteX6" fmla="*/ 84184 w 96324"/>
                  <a:gd name="connsiteY6" fmla="*/ 16004 h 95164"/>
                  <a:gd name="connsiteX7" fmla="*/ 56707 w 96324"/>
                  <a:gd name="connsiteY7" fmla="*/ 44 h 95164"/>
                  <a:gd name="connsiteX8" fmla="*/ 29869 w 96324"/>
                  <a:gd name="connsiteY8" fmla="*/ 16642 h 95164"/>
                  <a:gd name="connsiteX9" fmla="*/ 36259 w 96324"/>
                  <a:gd name="connsiteY9" fmla="*/ 66437 h 95164"/>
                  <a:gd name="connsiteX10" fmla="*/ 31786 w 96324"/>
                  <a:gd name="connsiteY10" fmla="*/ 68352 h 95164"/>
                  <a:gd name="connsiteX11" fmla="*/ 21562 w 96324"/>
                  <a:gd name="connsiteY11" fmla="*/ 68991 h 95164"/>
                  <a:gd name="connsiteX12" fmla="*/ 7505 w 96324"/>
                  <a:gd name="connsiteY12" fmla="*/ 76652 h 95164"/>
                  <a:gd name="connsiteX13" fmla="*/ 1115 w 96324"/>
                  <a:gd name="connsiteY13" fmla="*/ 84951 h 95164"/>
                  <a:gd name="connsiteX14" fmla="*/ 2393 w 96324"/>
                  <a:gd name="connsiteY14" fmla="*/ 93888 h 95164"/>
                  <a:gd name="connsiteX15" fmla="*/ 2393 w 96324"/>
                  <a:gd name="connsiteY15" fmla="*/ 93888 h 95164"/>
                  <a:gd name="connsiteX16" fmla="*/ 6226 w 96324"/>
                  <a:gd name="connsiteY16" fmla="*/ 95165 h 95164"/>
                  <a:gd name="connsiteX17" fmla="*/ 11338 w 96324"/>
                  <a:gd name="connsiteY17" fmla="*/ 92612 h 95164"/>
                  <a:gd name="connsiteX18" fmla="*/ 17728 w 96324"/>
                  <a:gd name="connsiteY18" fmla="*/ 84312 h 95164"/>
                  <a:gd name="connsiteX19" fmla="*/ 22841 w 96324"/>
                  <a:gd name="connsiteY19" fmla="*/ 81759 h 95164"/>
                  <a:gd name="connsiteX20" fmla="*/ 33064 w 96324"/>
                  <a:gd name="connsiteY20" fmla="*/ 81120 h 95164"/>
                  <a:gd name="connsiteX21" fmla="*/ 48400 w 96324"/>
                  <a:gd name="connsiteY21" fmla="*/ 71544 h 95164"/>
                  <a:gd name="connsiteX22" fmla="*/ 46483 w 96324"/>
                  <a:gd name="connsiteY22" fmla="*/ 60053 h 95164"/>
                  <a:gd name="connsiteX23" fmla="*/ 41371 w 96324"/>
                  <a:gd name="connsiteY23" fmla="*/ 21749 h 95164"/>
                  <a:gd name="connsiteX24" fmla="*/ 56068 w 96324"/>
                  <a:gd name="connsiteY24" fmla="*/ 13450 h 95164"/>
                  <a:gd name="connsiteX25" fmla="*/ 71404 w 96324"/>
                  <a:gd name="connsiteY25" fmla="*/ 21749 h 95164"/>
                  <a:gd name="connsiteX26" fmla="*/ 63736 w 96324"/>
                  <a:gd name="connsiteY26" fmla="*/ 60053 h 95164"/>
                  <a:gd name="connsiteX27" fmla="*/ 61819 w 96324"/>
                  <a:gd name="connsiteY27" fmla="*/ 71544 h 95164"/>
                  <a:gd name="connsiteX28" fmla="*/ 77155 w 96324"/>
                  <a:gd name="connsiteY28" fmla="*/ 81759 h 95164"/>
                  <a:gd name="connsiteX29" fmla="*/ 89296 w 96324"/>
                  <a:gd name="connsiteY29" fmla="*/ 81120 h 9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6324" h="95164">
                    <a:moveTo>
                      <a:pt x="89296" y="81120"/>
                    </a:moveTo>
                    <a:cubicBezTo>
                      <a:pt x="93130" y="81120"/>
                      <a:pt x="95686" y="78567"/>
                      <a:pt x="96325" y="75375"/>
                    </a:cubicBezTo>
                    <a:cubicBezTo>
                      <a:pt x="96325" y="71544"/>
                      <a:pt x="93769" y="68991"/>
                      <a:pt x="90574" y="68352"/>
                    </a:cubicBezTo>
                    <a:lnTo>
                      <a:pt x="90574" y="68352"/>
                    </a:lnTo>
                    <a:lnTo>
                      <a:pt x="80350" y="67714"/>
                    </a:lnTo>
                    <a:cubicBezTo>
                      <a:pt x="79072" y="67714"/>
                      <a:pt x="77155" y="67076"/>
                      <a:pt x="75877" y="65799"/>
                    </a:cubicBezTo>
                    <a:cubicBezTo>
                      <a:pt x="82267" y="56861"/>
                      <a:pt x="91213" y="32602"/>
                      <a:pt x="84184" y="16004"/>
                    </a:cubicBezTo>
                    <a:cubicBezTo>
                      <a:pt x="80989" y="8343"/>
                      <a:pt x="73960" y="44"/>
                      <a:pt x="56707" y="44"/>
                    </a:cubicBezTo>
                    <a:cubicBezTo>
                      <a:pt x="45205" y="-595"/>
                      <a:pt x="34342" y="5789"/>
                      <a:pt x="29869" y="16642"/>
                    </a:cubicBezTo>
                    <a:cubicBezTo>
                      <a:pt x="23479" y="33241"/>
                      <a:pt x="30508" y="57500"/>
                      <a:pt x="36259" y="66437"/>
                    </a:cubicBezTo>
                    <a:cubicBezTo>
                      <a:pt x="34981" y="67714"/>
                      <a:pt x="33703" y="68352"/>
                      <a:pt x="31786" y="68352"/>
                    </a:cubicBezTo>
                    <a:lnTo>
                      <a:pt x="21562" y="68991"/>
                    </a:lnTo>
                    <a:cubicBezTo>
                      <a:pt x="15811" y="69629"/>
                      <a:pt x="10700" y="72183"/>
                      <a:pt x="7505" y="76652"/>
                    </a:cubicBezTo>
                    <a:lnTo>
                      <a:pt x="1115" y="84951"/>
                    </a:lnTo>
                    <a:cubicBezTo>
                      <a:pt x="-802" y="87504"/>
                      <a:pt x="-163" y="91973"/>
                      <a:pt x="2393" y="93888"/>
                    </a:cubicBezTo>
                    <a:cubicBezTo>
                      <a:pt x="2393" y="93888"/>
                      <a:pt x="2393" y="93888"/>
                      <a:pt x="2393" y="93888"/>
                    </a:cubicBezTo>
                    <a:cubicBezTo>
                      <a:pt x="3671" y="94527"/>
                      <a:pt x="4948" y="95165"/>
                      <a:pt x="6226" y="95165"/>
                    </a:cubicBezTo>
                    <a:cubicBezTo>
                      <a:pt x="8143" y="95165"/>
                      <a:pt x="10061" y="93888"/>
                      <a:pt x="11338" y="92612"/>
                    </a:cubicBezTo>
                    <a:lnTo>
                      <a:pt x="17728" y="84312"/>
                    </a:lnTo>
                    <a:cubicBezTo>
                      <a:pt x="19006" y="82397"/>
                      <a:pt x="20923" y="81759"/>
                      <a:pt x="22841" y="81759"/>
                    </a:cubicBezTo>
                    <a:lnTo>
                      <a:pt x="33064" y="81120"/>
                    </a:lnTo>
                    <a:cubicBezTo>
                      <a:pt x="39454" y="80482"/>
                      <a:pt x="45205" y="76652"/>
                      <a:pt x="48400" y="71544"/>
                    </a:cubicBezTo>
                    <a:cubicBezTo>
                      <a:pt x="50317" y="67714"/>
                      <a:pt x="49678" y="62607"/>
                      <a:pt x="46483" y="60053"/>
                    </a:cubicBezTo>
                    <a:cubicBezTo>
                      <a:pt x="43288" y="56861"/>
                      <a:pt x="35620" y="34517"/>
                      <a:pt x="41371" y="21749"/>
                    </a:cubicBezTo>
                    <a:cubicBezTo>
                      <a:pt x="43927" y="16004"/>
                      <a:pt x="49678" y="12812"/>
                      <a:pt x="56068" y="13450"/>
                    </a:cubicBezTo>
                    <a:cubicBezTo>
                      <a:pt x="66931" y="13450"/>
                      <a:pt x="70126" y="17919"/>
                      <a:pt x="71404" y="21749"/>
                    </a:cubicBezTo>
                    <a:cubicBezTo>
                      <a:pt x="76516" y="33879"/>
                      <a:pt x="67570" y="56861"/>
                      <a:pt x="63736" y="60053"/>
                    </a:cubicBezTo>
                    <a:cubicBezTo>
                      <a:pt x="60541" y="63245"/>
                      <a:pt x="59902" y="67714"/>
                      <a:pt x="61819" y="71544"/>
                    </a:cubicBezTo>
                    <a:cubicBezTo>
                      <a:pt x="65014" y="77290"/>
                      <a:pt x="70765" y="81120"/>
                      <a:pt x="77155" y="81759"/>
                    </a:cubicBezTo>
                    <a:lnTo>
                      <a:pt x="89296" y="8112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72" name="Hexagon 71">
            <a:extLst>
              <a:ext uri="{FF2B5EF4-FFF2-40B4-BE49-F238E27FC236}">
                <a16:creationId xmlns:a16="http://schemas.microsoft.com/office/drawing/2014/main" id="{DE5525CD-A47C-A2EA-16E3-0D69729F0773}"/>
              </a:ext>
            </a:extLst>
          </p:cNvPr>
          <p:cNvSpPr/>
          <p:nvPr/>
        </p:nvSpPr>
        <p:spPr bwMode="gray">
          <a:xfrm>
            <a:off x="4029738" y="3998994"/>
            <a:ext cx="2133285" cy="1839039"/>
          </a:xfrm>
          <a:prstGeom prst="hexagon">
            <a:avLst/>
          </a:prstGeom>
          <a:solidFill>
            <a:srgbClr val="00206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Light"/>
              <a:ea typeface="+mn-ea"/>
              <a:cs typeface="+mn-cs"/>
            </a:endParaRPr>
          </a:p>
        </p:txBody>
      </p:sp>
      <p:sp>
        <p:nvSpPr>
          <p:cNvPr id="76" name="Pentagon 34">
            <a:extLst>
              <a:ext uri="{FF2B5EF4-FFF2-40B4-BE49-F238E27FC236}">
                <a16:creationId xmlns:a16="http://schemas.microsoft.com/office/drawing/2014/main" id="{B721C48A-0F89-446E-6A81-EEBC595488E2}"/>
              </a:ext>
            </a:extLst>
          </p:cNvPr>
          <p:cNvSpPr/>
          <p:nvPr/>
        </p:nvSpPr>
        <p:spPr bwMode="gray">
          <a:xfrm>
            <a:off x="597673" y="4279694"/>
            <a:ext cx="5257354" cy="1277639"/>
          </a:xfrm>
          <a:prstGeom prst="homePlate">
            <a:avLst>
              <a:gd name="adj" fmla="val 29778"/>
            </a:avLst>
          </a:prstGeom>
          <a:solidFill>
            <a:sysClr val="window" lastClr="FFFFFF"/>
          </a:solidFill>
          <a:ln w="25400" cap="flat" cmpd="sng" algn="ctr">
            <a:noFill/>
            <a:prstDash val="solid"/>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Calibri Light"/>
              <a:ea typeface="+mn-ea"/>
              <a:cs typeface="+mn-cs"/>
            </a:endParaRPr>
          </a:p>
        </p:txBody>
      </p:sp>
      <p:sp>
        <p:nvSpPr>
          <p:cNvPr id="78" name="Rectangle 77">
            <a:extLst>
              <a:ext uri="{FF2B5EF4-FFF2-40B4-BE49-F238E27FC236}">
                <a16:creationId xmlns:a16="http://schemas.microsoft.com/office/drawing/2014/main" id="{A1670E5D-600C-1003-162F-CDEF8AA01C22}"/>
              </a:ext>
            </a:extLst>
          </p:cNvPr>
          <p:cNvSpPr/>
          <p:nvPr/>
        </p:nvSpPr>
        <p:spPr>
          <a:xfrm>
            <a:off x="433631" y="4302312"/>
            <a:ext cx="4062578" cy="1273234"/>
          </a:xfrm>
          <a:prstGeom prst="rect">
            <a:avLst/>
          </a:prstGeom>
        </p:spPr>
        <p:txBody>
          <a:bodyPr wrap="square" l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2060"/>
                </a:solidFill>
                <a:effectLst/>
                <a:uLnTx/>
                <a:uFillTx/>
                <a:latin typeface="Calibri"/>
                <a:ea typeface="+mn-ea"/>
                <a:cs typeface="+mn-cs"/>
              </a:rPr>
              <a:t>How will the NCSR help my organization?</a:t>
            </a:r>
          </a:p>
          <a:p>
            <a:pPr marL="0" marR="0" lvl="0" indent="0" algn="r" defTabSz="914400" rtl="0" eaLnBrk="1" fontAlgn="auto" latinLnBrk="0" hangingPunct="1">
              <a:lnSpc>
                <a:spcPct val="106000"/>
              </a:lnSpc>
              <a:spcBef>
                <a:spcPts val="0"/>
              </a:spcBef>
              <a:spcAft>
                <a:spcPts val="600"/>
              </a:spcAft>
              <a:buClrTx/>
              <a:buSzPct val="100000"/>
              <a:buFontTx/>
              <a:buNone/>
              <a:tabLst/>
              <a:defRPr/>
            </a:pPr>
            <a:r>
              <a:rPr kumimoji="0" lang="en-US" sz="1400" b="0" i="0" u="none" strike="noStrike" kern="0" cap="none" spc="0" normalizeH="0" baseline="0" noProof="0" dirty="0">
                <a:ln>
                  <a:noFill/>
                </a:ln>
                <a:solidFill>
                  <a:prstClr val="black"/>
                </a:solidFill>
                <a:effectLst/>
                <a:uLnTx/>
                <a:uFillTx/>
                <a:latin typeface="Calibri"/>
                <a:ea typeface="+mn-ea"/>
                <a:cs typeface="+mn-cs"/>
              </a:rPr>
              <a:t>A better understanding of your cybersecurity maturity, suggested corrective actions to further improve, remediation support down the road, and eligibility to benefit from activities funded by TN</a:t>
            </a:r>
          </a:p>
        </p:txBody>
      </p:sp>
      <p:grpSp>
        <p:nvGrpSpPr>
          <p:cNvPr id="133" name="Graphic 4">
            <a:extLst>
              <a:ext uri="{FF2B5EF4-FFF2-40B4-BE49-F238E27FC236}">
                <a16:creationId xmlns:a16="http://schemas.microsoft.com/office/drawing/2014/main" id="{1DF8F696-4B93-D748-BE7A-E72E07427C7B}"/>
              </a:ext>
            </a:extLst>
          </p:cNvPr>
          <p:cNvGrpSpPr/>
          <p:nvPr/>
        </p:nvGrpSpPr>
        <p:grpSpPr>
          <a:xfrm>
            <a:off x="4684900" y="4507033"/>
            <a:ext cx="822960" cy="822960"/>
            <a:chOff x="3607758" y="1402085"/>
            <a:chExt cx="361674" cy="361333"/>
          </a:xfrm>
          <a:solidFill>
            <a:srgbClr val="002060"/>
          </a:solidFill>
        </p:grpSpPr>
        <p:sp>
          <p:nvSpPr>
            <p:cNvPr id="134" name="Graphic 4">
              <a:extLst>
                <a:ext uri="{FF2B5EF4-FFF2-40B4-BE49-F238E27FC236}">
                  <a16:creationId xmlns:a16="http://schemas.microsoft.com/office/drawing/2014/main" id="{7170502C-906C-F659-509F-7D6F0BF6BBB7}"/>
                </a:ext>
              </a:extLst>
            </p:cNvPr>
            <p:cNvSpPr/>
            <p:nvPr/>
          </p:nvSpPr>
          <p:spPr>
            <a:xfrm>
              <a:off x="3607758" y="1402085"/>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1157"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873"/>
                    <a:pt x="274128" y="349204"/>
                    <a:pt x="180836"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Graphic 4">
              <a:extLst>
                <a:ext uri="{FF2B5EF4-FFF2-40B4-BE49-F238E27FC236}">
                  <a16:creationId xmlns:a16="http://schemas.microsoft.com/office/drawing/2014/main" id="{BB3C001D-15C7-407E-E49C-1EF4F268E12A}"/>
                </a:ext>
              </a:extLst>
            </p:cNvPr>
            <p:cNvSpPr/>
            <p:nvPr/>
          </p:nvSpPr>
          <p:spPr>
            <a:xfrm>
              <a:off x="3688271" y="1642122"/>
              <a:ext cx="12779" cy="27451"/>
            </a:xfrm>
            <a:custGeom>
              <a:avLst/>
              <a:gdLst>
                <a:gd name="connsiteX0" fmla="*/ 6390 w 12779"/>
                <a:gd name="connsiteY0" fmla="*/ 0 h 27451"/>
                <a:gd name="connsiteX1" fmla="*/ 0 w 12779"/>
                <a:gd name="connsiteY1" fmla="*/ 6384 h 27451"/>
                <a:gd name="connsiteX2" fmla="*/ 0 w 12779"/>
                <a:gd name="connsiteY2" fmla="*/ 21067 h 27451"/>
                <a:gd name="connsiteX3" fmla="*/ 6390 w 12779"/>
                <a:gd name="connsiteY3" fmla="*/ 27451 h 27451"/>
                <a:gd name="connsiteX4" fmla="*/ 12780 w 12779"/>
                <a:gd name="connsiteY4" fmla="*/ 21067 h 27451"/>
                <a:gd name="connsiteX5" fmla="*/ 12780 w 12779"/>
                <a:gd name="connsiteY5" fmla="*/ 6384 h 27451"/>
                <a:gd name="connsiteX6" fmla="*/ 6390 w 12779"/>
                <a:gd name="connsiteY6" fmla="*/ 0 h 2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27451">
                  <a:moveTo>
                    <a:pt x="6390" y="0"/>
                  </a:moveTo>
                  <a:cubicBezTo>
                    <a:pt x="2556" y="0"/>
                    <a:pt x="0" y="2554"/>
                    <a:pt x="0" y="6384"/>
                  </a:cubicBezTo>
                  <a:lnTo>
                    <a:pt x="0" y="21067"/>
                  </a:lnTo>
                  <a:cubicBezTo>
                    <a:pt x="0" y="24897"/>
                    <a:pt x="2556" y="27451"/>
                    <a:pt x="6390" y="27451"/>
                  </a:cubicBezTo>
                  <a:cubicBezTo>
                    <a:pt x="10224" y="27451"/>
                    <a:pt x="12780" y="24897"/>
                    <a:pt x="12780" y="21067"/>
                  </a:cubicBezTo>
                  <a:lnTo>
                    <a:pt x="12780" y="6384"/>
                  </a:lnTo>
                  <a:cubicBezTo>
                    <a:pt x="12780" y="3192"/>
                    <a:pt x="9585" y="0"/>
                    <a:pt x="6390"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Graphic 4">
              <a:extLst>
                <a:ext uri="{FF2B5EF4-FFF2-40B4-BE49-F238E27FC236}">
                  <a16:creationId xmlns:a16="http://schemas.microsoft.com/office/drawing/2014/main" id="{72C14277-0D76-BB3D-390C-AECE63161610}"/>
                </a:ext>
              </a:extLst>
            </p:cNvPr>
            <p:cNvSpPr/>
            <p:nvPr/>
          </p:nvSpPr>
          <p:spPr>
            <a:xfrm>
              <a:off x="3717026" y="1628078"/>
              <a:ext cx="12779" cy="42134"/>
            </a:xfrm>
            <a:custGeom>
              <a:avLst/>
              <a:gdLst>
                <a:gd name="connsiteX0" fmla="*/ 6390 w 12779"/>
                <a:gd name="connsiteY0" fmla="*/ 0 h 42134"/>
                <a:gd name="connsiteX1" fmla="*/ 0 w 12779"/>
                <a:gd name="connsiteY1" fmla="*/ 6384 h 42134"/>
                <a:gd name="connsiteX2" fmla="*/ 0 w 12779"/>
                <a:gd name="connsiteY2" fmla="*/ 35750 h 42134"/>
                <a:gd name="connsiteX3" fmla="*/ 6390 w 12779"/>
                <a:gd name="connsiteY3" fmla="*/ 42134 h 42134"/>
                <a:gd name="connsiteX4" fmla="*/ 12780 w 12779"/>
                <a:gd name="connsiteY4" fmla="*/ 35750 h 42134"/>
                <a:gd name="connsiteX5" fmla="*/ 12780 w 12779"/>
                <a:gd name="connsiteY5" fmla="*/ 6384 h 42134"/>
                <a:gd name="connsiteX6" fmla="*/ 6390 w 12779"/>
                <a:gd name="connsiteY6" fmla="*/ 0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2134">
                  <a:moveTo>
                    <a:pt x="6390" y="0"/>
                  </a:moveTo>
                  <a:cubicBezTo>
                    <a:pt x="2556" y="0"/>
                    <a:pt x="0" y="2554"/>
                    <a:pt x="0" y="6384"/>
                  </a:cubicBezTo>
                  <a:lnTo>
                    <a:pt x="0" y="35750"/>
                  </a:lnTo>
                  <a:cubicBezTo>
                    <a:pt x="0" y="39581"/>
                    <a:pt x="2556" y="42134"/>
                    <a:pt x="6390" y="42134"/>
                  </a:cubicBezTo>
                  <a:cubicBezTo>
                    <a:pt x="10224" y="42134"/>
                    <a:pt x="12780" y="39581"/>
                    <a:pt x="12780" y="35750"/>
                  </a:cubicBezTo>
                  <a:lnTo>
                    <a:pt x="12780" y="6384"/>
                  </a:lnTo>
                  <a:cubicBezTo>
                    <a:pt x="12780" y="2554"/>
                    <a:pt x="10224" y="0"/>
                    <a:pt x="6390"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Graphic 4">
              <a:extLst>
                <a:ext uri="{FF2B5EF4-FFF2-40B4-BE49-F238E27FC236}">
                  <a16:creationId xmlns:a16="http://schemas.microsoft.com/office/drawing/2014/main" id="{E314FB10-28BD-FF9A-0F1C-D770F818C92C}"/>
                </a:ext>
              </a:extLst>
            </p:cNvPr>
            <p:cNvSpPr/>
            <p:nvPr/>
          </p:nvSpPr>
          <p:spPr>
            <a:xfrm>
              <a:off x="3746420" y="1605734"/>
              <a:ext cx="12779" cy="63839"/>
            </a:xfrm>
            <a:custGeom>
              <a:avLst/>
              <a:gdLst>
                <a:gd name="connsiteX0" fmla="*/ 6390 w 12779"/>
                <a:gd name="connsiteY0" fmla="*/ 0 h 63839"/>
                <a:gd name="connsiteX1" fmla="*/ 0 w 12779"/>
                <a:gd name="connsiteY1" fmla="*/ 6384 h 63839"/>
                <a:gd name="connsiteX2" fmla="*/ 0 w 12779"/>
                <a:gd name="connsiteY2" fmla="*/ 57456 h 63839"/>
                <a:gd name="connsiteX3" fmla="*/ 6390 w 12779"/>
                <a:gd name="connsiteY3" fmla="*/ 63840 h 63839"/>
                <a:gd name="connsiteX4" fmla="*/ 12780 w 12779"/>
                <a:gd name="connsiteY4" fmla="*/ 57456 h 63839"/>
                <a:gd name="connsiteX5" fmla="*/ 12780 w 12779"/>
                <a:gd name="connsiteY5" fmla="*/ 6384 h 63839"/>
                <a:gd name="connsiteX6" fmla="*/ 6390 w 12779"/>
                <a:gd name="connsiteY6" fmla="*/ 0 h 6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3839">
                  <a:moveTo>
                    <a:pt x="6390" y="0"/>
                  </a:moveTo>
                  <a:cubicBezTo>
                    <a:pt x="2556" y="0"/>
                    <a:pt x="0" y="2554"/>
                    <a:pt x="0" y="6384"/>
                  </a:cubicBezTo>
                  <a:lnTo>
                    <a:pt x="0" y="57456"/>
                  </a:lnTo>
                  <a:cubicBezTo>
                    <a:pt x="0" y="61286"/>
                    <a:pt x="2556" y="63840"/>
                    <a:pt x="6390" y="63840"/>
                  </a:cubicBezTo>
                  <a:cubicBezTo>
                    <a:pt x="10224" y="63840"/>
                    <a:pt x="12780" y="61286"/>
                    <a:pt x="12780" y="57456"/>
                  </a:cubicBezTo>
                  <a:lnTo>
                    <a:pt x="12780" y="6384"/>
                  </a:lnTo>
                  <a:cubicBezTo>
                    <a:pt x="12780" y="3192"/>
                    <a:pt x="9585" y="0"/>
                    <a:pt x="6390"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Graphic 4">
              <a:extLst>
                <a:ext uri="{FF2B5EF4-FFF2-40B4-BE49-F238E27FC236}">
                  <a16:creationId xmlns:a16="http://schemas.microsoft.com/office/drawing/2014/main" id="{79ACAADB-12E1-CCDD-1874-E04B8CD0D8A0}"/>
                </a:ext>
              </a:extLst>
            </p:cNvPr>
            <p:cNvSpPr/>
            <p:nvPr/>
          </p:nvSpPr>
          <p:spPr>
            <a:xfrm>
              <a:off x="3775174" y="1598711"/>
              <a:ext cx="12779" cy="70862"/>
            </a:xfrm>
            <a:custGeom>
              <a:avLst/>
              <a:gdLst>
                <a:gd name="connsiteX0" fmla="*/ 6390 w 12779"/>
                <a:gd name="connsiteY0" fmla="*/ 0 h 70862"/>
                <a:gd name="connsiteX1" fmla="*/ 0 w 12779"/>
                <a:gd name="connsiteY1" fmla="*/ 6384 h 70862"/>
                <a:gd name="connsiteX2" fmla="*/ 0 w 12779"/>
                <a:gd name="connsiteY2" fmla="*/ 64478 h 70862"/>
                <a:gd name="connsiteX3" fmla="*/ 6390 w 12779"/>
                <a:gd name="connsiteY3" fmla="*/ 70862 h 70862"/>
                <a:gd name="connsiteX4" fmla="*/ 12780 w 12779"/>
                <a:gd name="connsiteY4" fmla="*/ 64478 h 70862"/>
                <a:gd name="connsiteX5" fmla="*/ 12780 w 12779"/>
                <a:gd name="connsiteY5" fmla="*/ 6384 h 70862"/>
                <a:gd name="connsiteX6" fmla="*/ 6390 w 12779"/>
                <a:gd name="connsiteY6" fmla="*/ 0 h 7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70862">
                  <a:moveTo>
                    <a:pt x="6390" y="0"/>
                  </a:moveTo>
                  <a:cubicBezTo>
                    <a:pt x="2556" y="0"/>
                    <a:pt x="0" y="2554"/>
                    <a:pt x="0" y="6384"/>
                  </a:cubicBezTo>
                  <a:lnTo>
                    <a:pt x="0" y="64478"/>
                  </a:lnTo>
                  <a:cubicBezTo>
                    <a:pt x="0" y="68309"/>
                    <a:pt x="2556" y="70862"/>
                    <a:pt x="6390" y="70862"/>
                  </a:cubicBezTo>
                  <a:cubicBezTo>
                    <a:pt x="10224" y="70862"/>
                    <a:pt x="12780" y="68309"/>
                    <a:pt x="12780" y="64478"/>
                  </a:cubicBezTo>
                  <a:lnTo>
                    <a:pt x="12780" y="6384"/>
                  </a:lnTo>
                  <a:cubicBezTo>
                    <a:pt x="12780" y="3192"/>
                    <a:pt x="10224" y="0"/>
                    <a:pt x="6390"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Graphic 4">
              <a:extLst>
                <a:ext uri="{FF2B5EF4-FFF2-40B4-BE49-F238E27FC236}">
                  <a16:creationId xmlns:a16="http://schemas.microsoft.com/office/drawing/2014/main" id="{92BB85F2-BACF-73B5-45EB-0B7E1D66BBB9}"/>
                </a:ext>
              </a:extLst>
            </p:cNvPr>
            <p:cNvSpPr/>
            <p:nvPr/>
          </p:nvSpPr>
          <p:spPr>
            <a:xfrm>
              <a:off x="3804568" y="1598711"/>
              <a:ext cx="12779" cy="70862"/>
            </a:xfrm>
            <a:custGeom>
              <a:avLst/>
              <a:gdLst>
                <a:gd name="connsiteX0" fmla="*/ 6390 w 12779"/>
                <a:gd name="connsiteY0" fmla="*/ 0 h 70862"/>
                <a:gd name="connsiteX1" fmla="*/ 0 w 12779"/>
                <a:gd name="connsiteY1" fmla="*/ 6384 h 70862"/>
                <a:gd name="connsiteX2" fmla="*/ 0 w 12779"/>
                <a:gd name="connsiteY2" fmla="*/ 64478 h 70862"/>
                <a:gd name="connsiteX3" fmla="*/ 6390 w 12779"/>
                <a:gd name="connsiteY3" fmla="*/ 70862 h 70862"/>
                <a:gd name="connsiteX4" fmla="*/ 12780 w 12779"/>
                <a:gd name="connsiteY4" fmla="*/ 64478 h 70862"/>
                <a:gd name="connsiteX5" fmla="*/ 12780 w 12779"/>
                <a:gd name="connsiteY5" fmla="*/ 6384 h 70862"/>
                <a:gd name="connsiteX6" fmla="*/ 6390 w 12779"/>
                <a:gd name="connsiteY6" fmla="*/ 0 h 7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70862">
                  <a:moveTo>
                    <a:pt x="6390" y="0"/>
                  </a:moveTo>
                  <a:cubicBezTo>
                    <a:pt x="2556" y="0"/>
                    <a:pt x="0" y="2554"/>
                    <a:pt x="0" y="6384"/>
                  </a:cubicBezTo>
                  <a:lnTo>
                    <a:pt x="0" y="64478"/>
                  </a:lnTo>
                  <a:cubicBezTo>
                    <a:pt x="0" y="68309"/>
                    <a:pt x="2556" y="70862"/>
                    <a:pt x="6390" y="70862"/>
                  </a:cubicBezTo>
                  <a:cubicBezTo>
                    <a:pt x="10224" y="70862"/>
                    <a:pt x="12780" y="68309"/>
                    <a:pt x="12780" y="64478"/>
                  </a:cubicBezTo>
                  <a:lnTo>
                    <a:pt x="12780" y="6384"/>
                  </a:lnTo>
                  <a:cubicBezTo>
                    <a:pt x="12780" y="3192"/>
                    <a:pt x="9585" y="0"/>
                    <a:pt x="6390"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Graphic 4">
              <a:extLst>
                <a:ext uri="{FF2B5EF4-FFF2-40B4-BE49-F238E27FC236}">
                  <a16:creationId xmlns:a16="http://schemas.microsoft.com/office/drawing/2014/main" id="{E616DFCF-FA83-D4E9-D602-F732C3315435}"/>
                </a:ext>
              </a:extLst>
            </p:cNvPr>
            <p:cNvSpPr/>
            <p:nvPr/>
          </p:nvSpPr>
          <p:spPr>
            <a:xfrm>
              <a:off x="3833323" y="1577006"/>
              <a:ext cx="12779" cy="92567"/>
            </a:xfrm>
            <a:custGeom>
              <a:avLst/>
              <a:gdLst>
                <a:gd name="connsiteX0" fmla="*/ 6390 w 12779"/>
                <a:gd name="connsiteY0" fmla="*/ 0 h 92567"/>
                <a:gd name="connsiteX1" fmla="*/ 0 w 12779"/>
                <a:gd name="connsiteY1" fmla="*/ 6384 h 92567"/>
                <a:gd name="connsiteX2" fmla="*/ 0 w 12779"/>
                <a:gd name="connsiteY2" fmla="*/ 86184 h 92567"/>
                <a:gd name="connsiteX3" fmla="*/ 6390 w 12779"/>
                <a:gd name="connsiteY3" fmla="*/ 92568 h 92567"/>
                <a:gd name="connsiteX4" fmla="*/ 12780 w 12779"/>
                <a:gd name="connsiteY4" fmla="*/ 86184 h 92567"/>
                <a:gd name="connsiteX5" fmla="*/ 12780 w 12779"/>
                <a:gd name="connsiteY5" fmla="*/ 6384 h 92567"/>
                <a:gd name="connsiteX6" fmla="*/ 6390 w 12779"/>
                <a:gd name="connsiteY6" fmla="*/ 0 h 9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92567">
                  <a:moveTo>
                    <a:pt x="6390" y="0"/>
                  </a:moveTo>
                  <a:cubicBezTo>
                    <a:pt x="2556" y="0"/>
                    <a:pt x="0" y="2554"/>
                    <a:pt x="0" y="6384"/>
                  </a:cubicBezTo>
                  <a:lnTo>
                    <a:pt x="0" y="86184"/>
                  </a:lnTo>
                  <a:cubicBezTo>
                    <a:pt x="0" y="90014"/>
                    <a:pt x="2556" y="92568"/>
                    <a:pt x="6390" y="92568"/>
                  </a:cubicBezTo>
                  <a:cubicBezTo>
                    <a:pt x="10224" y="92568"/>
                    <a:pt x="12780" y="90014"/>
                    <a:pt x="12780" y="86184"/>
                  </a:cubicBezTo>
                  <a:lnTo>
                    <a:pt x="12780" y="6384"/>
                  </a:lnTo>
                  <a:cubicBezTo>
                    <a:pt x="12780" y="2554"/>
                    <a:pt x="10224" y="0"/>
                    <a:pt x="6390"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Graphic 4">
              <a:extLst>
                <a:ext uri="{FF2B5EF4-FFF2-40B4-BE49-F238E27FC236}">
                  <a16:creationId xmlns:a16="http://schemas.microsoft.com/office/drawing/2014/main" id="{F5D79303-C06A-A7BC-7D67-29F2CF5F3F27}"/>
                </a:ext>
              </a:extLst>
            </p:cNvPr>
            <p:cNvSpPr/>
            <p:nvPr/>
          </p:nvSpPr>
          <p:spPr>
            <a:xfrm>
              <a:off x="3862716" y="1555300"/>
              <a:ext cx="12779" cy="114273"/>
            </a:xfrm>
            <a:custGeom>
              <a:avLst/>
              <a:gdLst>
                <a:gd name="connsiteX0" fmla="*/ 6390 w 12779"/>
                <a:gd name="connsiteY0" fmla="*/ 0 h 114273"/>
                <a:gd name="connsiteX1" fmla="*/ 0 w 12779"/>
                <a:gd name="connsiteY1" fmla="*/ 6384 h 114273"/>
                <a:gd name="connsiteX2" fmla="*/ 0 w 12779"/>
                <a:gd name="connsiteY2" fmla="*/ 107889 h 114273"/>
                <a:gd name="connsiteX3" fmla="*/ 6390 w 12779"/>
                <a:gd name="connsiteY3" fmla="*/ 114273 h 114273"/>
                <a:gd name="connsiteX4" fmla="*/ 12780 w 12779"/>
                <a:gd name="connsiteY4" fmla="*/ 107889 h 114273"/>
                <a:gd name="connsiteX5" fmla="*/ 12780 w 12779"/>
                <a:gd name="connsiteY5" fmla="*/ 6384 h 114273"/>
                <a:gd name="connsiteX6" fmla="*/ 6390 w 12779"/>
                <a:gd name="connsiteY6" fmla="*/ 0 h 11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114273">
                  <a:moveTo>
                    <a:pt x="6390" y="0"/>
                  </a:moveTo>
                  <a:cubicBezTo>
                    <a:pt x="2556" y="0"/>
                    <a:pt x="0" y="2554"/>
                    <a:pt x="0" y="6384"/>
                  </a:cubicBezTo>
                  <a:lnTo>
                    <a:pt x="0" y="107889"/>
                  </a:lnTo>
                  <a:cubicBezTo>
                    <a:pt x="0" y="111720"/>
                    <a:pt x="2556" y="114273"/>
                    <a:pt x="6390" y="114273"/>
                  </a:cubicBezTo>
                  <a:cubicBezTo>
                    <a:pt x="10224" y="114273"/>
                    <a:pt x="12780" y="111720"/>
                    <a:pt x="12780" y="107889"/>
                  </a:cubicBezTo>
                  <a:lnTo>
                    <a:pt x="12780" y="6384"/>
                  </a:lnTo>
                  <a:cubicBezTo>
                    <a:pt x="12780" y="2554"/>
                    <a:pt x="9585" y="0"/>
                    <a:pt x="6390"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Graphic 4">
              <a:extLst>
                <a:ext uri="{FF2B5EF4-FFF2-40B4-BE49-F238E27FC236}">
                  <a16:creationId xmlns:a16="http://schemas.microsoft.com/office/drawing/2014/main" id="{1CAF7B73-8C2C-13B3-7CE5-5B774DC40440}"/>
                </a:ext>
              </a:extLst>
            </p:cNvPr>
            <p:cNvSpPr/>
            <p:nvPr/>
          </p:nvSpPr>
          <p:spPr>
            <a:xfrm>
              <a:off x="3687157" y="1496568"/>
              <a:ext cx="201758" cy="128956"/>
            </a:xfrm>
            <a:custGeom>
              <a:avLst/>
              <a:gdLst>
                <a:gd name="connsiteX0" fmla="*/ 198563 w 201758"/>
                <a:gd name="connsiteY0" fmla="*/ 638 h 128956"/>
                <a:gd name="connsiteX1" fmla="*/ 196008 w 201758"/>
                <a:gd name="connsiteY1" fmla="*/ 0 h 128956"/>
                <a:gd name="connsiteX2" fmla="*/ 166614 w 201758"/>
                <a:gd name="connsiteY2" fmla="*/ 0 h 128956"/>
                <a:gd name="connsiteX3" fmla="*/ 160224 w 201758"/>
                <a:gd name="connsiteY3" fmla="*/ 6384 h 128956"/>
                <a:gd name="connsiteX4" fmla="*/ 166614 w 201758"/>
                <a:gd name="connsiteY4" fmla="*/ 12768 h 128956"/>
                <a:gd name="connsiteX5" fmla="*/ 180033 w 201758"/>
                <a:gd name="connsiteY5" fmla="*/ 12768 h 128956"/>
                <a:gd name="connsiteX6" fmla="*/ 119967 w 201758"/>
                <a:gd name="connsiteY6" fmla="*/ 72777 h 128956"/>
                <a:gd name="connsiteX7" fmla="*/ 64375 w 201758"/>
                <a:gd name="connsiteY7" fmla="*/ 72777 h 128956"/>
                <a:gd name="connsiteX8" fmla="*/ 60541 w 201758"/>
                <a:gd name="connsiteY8" fmla="*/ 74054 h 128956"/>
                <a:gd name="connsiteX9" fmla="*/ 2393 w 201758"/>
                <a:gd name="connsiteY9" fmla="*/ 117465 h 128956"/>
                <a:gd name="connsiteX10" fmla="*/ 1115 w 201758"/>
                <a:gd name="connsiteY10" fmla="*/ 126403 h 128956"/>
                <a:gd name="connsiteX11" fmla="*/ 6226 w 201758"/>
                <a:gd name="connsiteY11" fmla="*/ 128956 h 128956"/>
                <a:gd name="connsiteX12" fmla="*/ 10060 w 201758"/>
                <a:gd name="connsiteY12" fmla="*/ 127680 h 128956"/>
                <a:gd name="connsiteX13" fmla="*/ 66292 w 201758"/>
                <a:gd name="connsiteY13" fmla="*/ 85545 h 128956"/>
                <a:gd name="connsiteX14" fmla="*/ 122523 w 201758"/>
                <a:gd name="connsiteY14" fmla="*/ 85545 h 128956"/>
                <a:gd name="connsiteX15" fmla="*/ 126996 w 201758"/>
                <a:gd name="connsiteY15" fmla="*/ 83630 h 128956"/>
                <a:gd name="connsiteX16" fmla="*/ 188979 w 201758"/>
                <a:gd name="connsiteY16" fmla="*/ 21706 h 128956"/>
                <a:gd name="connsiteX17" fmla="*/ 188979 w 201758"/>
                <a:gd name="connsiteY17" fmla="*/ 35112 h 128956"/>
                <a:gd name="connsiteX18" fmla="*/ 195368 w 201758"/>
                <a:gd name="connsiteY18" fmla="*/ 41496 h 128956"/>
                <a:gd name="connsiteX19" fmla="*/ 201758 w 201758"/>
                <a:gd name="connsiteY19" fmla="*/ 35112 h 128956"/>
                <a:gd name="connsiteX20" fmla="*/ 201758 w 201758"/>
                <a:gd name="connsiteY20" fmla="*/ 5746 h 128956"/>
                <a:gd name="connsiteX21" fmla="*/ 201120 w 201758"/>
                <a:gd name="connsiteY21" fmla="*/ 3192 h 128956"/>
                <a:gd name="connsiteX22" fmla="*/ 198563 w 201758"/>
                <a:gd name="connsiteY22" fmla="*/ 638 h 12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1758" h="128956">
                  <a:moveTo>
                    <a:pt x="198563" y="638"/>
                  </a:moveTo>
                  <a:cubicBezTo>
                    <a:pt x="197925" y="0"/>
                    <a:pt x="196647" y="0"/>
                    <a:pt x="196008" y="0"/>
                  </a:cubicBezTo>
                  <a:lnTo>
                    <a:pt x="166614" y="0"/>
                  </a:lnTo>
                  <a:cubicBezTo>
                    <a:pt x="162780" y="0"/>
                    <a:pt x="160224" y="2554"/>
                    <a:pt x="160224" y="6384"/>
                  </a:cubicBezTo>
                  <a:cubicBezTo>
                    <a:pt x="160224" y="10214"/>
                    <a:pt x="162780" y="12768"/>
                    <a:pt x="166614" y="12768"/>
                  </a:cubicBezTo>
                  <a:lnTo>
                    <a:pt x="180033" y="12768"/>
                  </a:lnTo>
                  <a:lnTo>
                    <a:pt x="119967" y="72777"/>
                  </a:lnTo>
                  <a:lnTo>
                    <a:pt x="64375" y="72777"/>
                  </a:lnTo>
                  <a:cubicBezTo>
                    <a:pt x="63097" y="72777"/>
                    <a:pt x="61819" y="73416"/>
                    <a:pt x="60541" y="74054"/>
                  </a:cubicBezTo>
                  <a:lnTo>
                    <a:pt x="2393" y="117465"/>
                  </a:lnTo>
                  <a:cubicBezTo>
                    <a:pt x="-163" y="119380"/>
                    <a:pt x="-802" y="123849"/>
                    <a:pt x="1115" y="126403"/>
                  </a:cubicBezTo>
                  <a:cubicBezTo>
                    <a:pt x="2393" y="128318"/>
                    <a:pt x="4310" y="128956"/>
                    <a:pt x="6226" y="128956"/>
                  </a:cubicBezTo>
                  <a:cubicBezTo>
                    <a:pt x="7505" y="128956"/>
                    <a:pt x="8783" y="128318"/>
                    <a:pt x="10060" y="127680"/>
                  </a:cubicBezTo>
                  <a:lnTo>
                    <a:pt x="66292" y="85545"/>
                  </a:lnTo>
                  <a:lnTo>
                    <a:pt x="122523" y="85545"/>
                  </a:lnTo>
                  <a:cubicBezTo>
                    <a:pt x="124440" y="85545"/>
                    <a:pt x="125718" y="84907"/>
                    <a:pt x="126996" y="83630"/>
                  </a:cubicBezTo>
                  <a:lnTo>
                    <a:pt x="188979" y="21706"/>
                  </a:lnTo>
                  <a:lnTo>
                    <a:pt x="188979" y="35112"/>
                  </a:lnTo>
                  <a:cubicBezTo>
                    <a:pt x="188979" y="38942"/>
                    <a:pt x="191535" y="41496"/>
                    <a:pt x="195368" y="41496"/>
                  </a:cubicBezTo>
                  <a:cubicBezTo>
                    <a:pt x="199203" y="41496"/>
                    <a:pt x="201758" y="38942"/>
                    <a:pt x="201758" y="35112"/>
                  </a:cubicBezTo>
                  <a:lnTo>
                    <a:pt x="201758" y="5746"/>
                  </a:lnTo>
                  <a:cubicBezTo>
                    <a:pt x="201758" y="5107"/>
                    <a:pt x="201758" y="3830"/>
                    <a:pt x="201120" y="3192"/>
                  </a:cubicBezTo>
                  <a:cubicBezTo>
                    <a:pt x="201758" y="2554"/>
                    <a:pt x="200481" y="1277"/>
                    <a:pt x="198563" y="63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7" name="Rectangle 146">
            <a:extLst>
              <a:ext uri="{FF2B5EF4-FFF2-40B4-BE49-F238E27FC236}">
                <a16:creationId xmlns:a16="http://schemas.microsoft.com/office/drawing/2014/main" id="{9FDF361E-068C-9C09-3840-F19195CD4A2F}"/>
              </a:ext>
            </a:extLst>
          </p:cNvPr>
          <p:cNvSpPr/>
          <p:nvPr/>
        </p:nvSpPr>
        <p:spPr bwMode="gray">
          <a:xfrm>
            <a:off x="2427175" y="6179576"/>
            <a:ext cx="7315200" cy="349979"/>
          </a:xfrm>
          <a:prstGeom prst="rect">
            <a:avLst/>
          </a:prstGeom>
          <a:solidFill>
            <a:schemeClr val="accent1">
              <a:lumMod val="60000"/>
              <a:lumOff val="40000"/>
            </a:schemeClr>
          </a:solidFill>
          <a:ln w="12700" algn="ctr">
            <a:solidFill>
              <a:schemeClr val="tx1"/>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dditional questions or ready for the next steps? Contact our team at </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ncsr@tn.gov</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9" name="Straight Connector 8">
            <a:extLst>
              <a:ext uri="{FF2B5EF4-FFF2-40B4-BE49-F238E27FC236}">
                <a16:creationId xmlns:a16="http://schemas.microsoft.com/office/drawing/2014/main" id="{DCB2CC33-4477-6C8A-9D45-602F14F27D63}"/>
              </a:ext>
            </a:extLst>
          </p:cNvPr>
          <p:cNvCxnSpPr/>
          <p:nvPr/>
        </p:nvCxnSpPr>
        <p:spPr>
          <a:xfrm>
            <a:off x="9790614" y="794338"/>
            <a:ext cx="2140946" cy="0"/>
          </a:xfrm>
          <a:prstGeom prst="line">
            <a:avLst/>
          </a:prstGeom>
          <a:ln w="127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319432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Title 3">
            <a:extLst>
              <a:ext uri="{FF2B5EF4-FFF2-40B4-BE49-F238E27FC236}">
                <a16:creationId xmlns:a16="http://schemas.microsoft.com/office/drawing/2014/main" id="{5A9891A8-DFFD-39EF-ECA4-F74481EEC3CA}"/>
              </a:ext>
            </a:extLst>
          </p:cNvPr>
          <p:cNvSpPr>
            <a:spLocks noGrp="1"/>
          </p:cNvSpPr>
          <p:nvPr>
            <p:ph type="title"/>
          </p:nvPr>
        </p:nvSpPr>
        <p:spPr>
          <a:xfrm>
            <a:off x="469900" y="402587"/>
            <a:ext cx="11252200" cy="334102"/>
          </a:xfrm>
        </p:spPr>
        <p:txBody>
          <a:bodyPr/>
          <a:lstStyle/>
          <a:p>
            <a:r>
              <a:rPr lang="en-US" sz="2100"/>
              <a:t>Let’s Work Together to Improve Your Cybersecurity</a:t>
            </a:r>
          </a:p>
        </p:txBody>
      </p:sp>
      <p:sp>
        <p:nvSpPr>
          <p:cNvPr id="22" name="フリーフォーム 15">
            <a:extLst>
              <a:ext uri="{FF2B5EF4-FFF2-40B4-BE49-F238E27FC236}">
                <a16:creationId xmlns:a16="http://schemas.microsoft.com/office/drawing/2014/main" id="{44369474-A552-E4D1-28CF-85DE7A9C6B49}"/>
              </a:ext>
            </a:extLst>
          </p:cNvPr>
          <p:cNvSpPr/>
          <p:nvPr/>
        </p:nvSpPr>
        <p:spPr bwMode="gray">
          <a:xfrm>
            <a:off x="579000" y="1758320"/>
            <a:ext cx="10467843" cy="1200636"/>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rgbClr val="002060"/>
          </a:solidFill>
          <a:ln w="12700" algn="ctr">
            <a:solidFill>
              <a:srgbClr val="002060"/>
            </a:solidFill>
            <a:miter lim="800000"/>
            <a:headEnd/>
            <a:tailEnd/>
          </a:ln>
        </p:spPr>
        <p:txBody>
          <a:bodyPr rot="0" spcFirstLastPara="0" vertOverflow="overflow" horzOverflow="overflow" vert="horz" wrap="square" lIns="1188720" tIns="0" rIns="0" bIns="731520" numCol="1" spcCol="0" rtlCol="0" fromWordArt="0" anchor="ctr" anchorCtr="0" forceAA="0" compatLnSpc="1">
            <a:prstTxWarp prst="textNoShape">
              <a:avLst/>
            </a:prstTxWarp>
            <a:noAutofit/>
          </a:bodyPr>
          <a:lstStyle/>
          <a:p>
            <a:pPr marL="360000" indent="-360000" defTabSz="914400">
              <a:buFont typeface="Wingdings 2" pitchFamily="18" charset="2"/>
              <a:buNone/>
              <a:defRPr/>
            </a:pPr>
            <a:r>
              <a:rPr kumimoji="1" lang="en-US" altLang="ja-JP" sz="1800" b="1">
                <a:solidFill>
                  <a:srgbClr val="FFFFFF"/>
                </a:solidFill>
                <a:latin typeface="Calibri"/>
              </a:rPr>
              <a:t>   Step 1</a:t>
            </a:r>
            <a:endParaRPr kumimoji="1" lang="ja-JP" altLang="en-US" sz="1800" b="1">
              <a:solidFill>
                <a:prstClr val="white"/>
              </a:solidFill>
              <a:latin typeface="Calibri"/>
            </a:endParaRPr>
          </a:p>
        </p:txBody>
      </p:sp>
      <p:sp>
        <p:nvSpPr>
          <p:cNvPr id="23" name="フリーフォーム 16">
            <a:extLst>
              <a:ext uri="{FF2B5EF4-FFF2-40B4-BE49-F238E27FC236}">
                <a16:creationId xmlns:a16="http://schemas.microsoft.com/office/drawing/2014/main" id="{5EA26D27-0187-99F0-B91A-2C08F7426A1A}"/>
              </a:ext>
            </a:extLst>
          </p:cNvPr>
          <p:cNvSpPr/>
          <p:nvPr/>
        </p:nvSpPr>
        <p:spPr bwMode="gray">
          <a:xfrm>
            <a:off x="579000" y="3261113"/>
            <a:ext cx="10467843" cy="1200636"/>
          </a:xfrm>
          <a:custGeom>
            <a:avLst/>
            <a:gdLst>
              <a:gd name="connsiteX0" fmla="*/ 504000 w 8748000"/>
              <a:gd name="connsiteY0" fmla="*/ 0 h 1008000"/>
              <a:gd name="connsiteX1" fmla="*/ 519058 w 8748000"/>
              <a:gd name="connsiteY1" fmla="*/ 1518 h 1008000"/>
              <a:gd name="connsiteX2" fmla="*/ 519058 w 8748000"/>
              <a:gd name="connsiteY2" fmla="*/ 0 h 1008000"/>
              <a:gd name="connsiteX3" fmla="*/ 8251258 w 8748000"/>
              <a:gd name="connsiteY3" fmla="*/ 0 h 1008000"/>
              <a:gd name="connsiteX4" fmla="*/ 8745019 w 8748000"/>
              <a:gd name="connsiteY4" fmla="*/ 402426 h 1008000"/>
              <a:gd name="connsiteX5" fmla="*/ 8748000 w 8748000"/>
              <a:gd name="connsiteY5" fmla="*/ 432000 h 1008000"/>
              <a:gd name="connsiteX6" fmla="*/ 1000742 w 8748000"/>
              <a:gd name="connsiteY6" fmla="*/ 432000 h 1008000"/>
              <a:gd name="connsiteX7" fmla="*/ 1008000 w 8748000"/>
              <a:gd name="connsiteY7" fmla="*/ 504000 h 1008000"/>
              <a:gd name="connsiteX8" fmla="*/ 504000 w 8748000"/>
              <a:gd name="connsiteY8" fmla="*/ 1008000 h 1008000"/>
              <a:gd name="connsiteX9" fmla="*/ 0 w 8748000"/>
              <a:gd name="connsiteY9" fmla="*/ 504000 h 1008000"/>
              <a:gd name="connsiteX10" fmla="*/ 504000 w 8748000"/>
              <a:gd name="connsiteY10" fmla="*/ 0 h 10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48000" h="1008000">
                <a:moveTo>
                  <a:pt x="504000" y="0"/>
                </a:moveTo>
                <a:lnTo>
                  <a:pt x="519058" y="1518"/>
                </a:lnTo>
                <a:lnTo>
                  <a:pt x="519058" y="0"/>
                </a:lnTo>
                <a:lnTo>
                  <a:pt x="8251258" y="0"/>
                </a:lnTo>
                <a:cubicBezTo>
                  <a:pt x="8494816" y="0"/>
                  <a:pt x="8698022" y="172762"/>
                  <a:pt x="8745019" y="402426"/>
                </a:cubicBezTo>
                <a:lnTo>
                  <a:pt x="8748000" y="432000"/>
                </a:lnTo>
                <a:lnTo>
                  <a:pt x="1000742" y="432000"/>
                </a:lnTo>
                <a:lnTo>
                  <a:pt x="1008000" y="504000"/>
                </a:lnTo>
                <a:cubicBezTo>
                  <a:pt x="1008000" y="782352"/>
                  <a:pt x="782352" y="1008000"/>
                  <a:pt x="504000" y="1008000"/>
                </a:cubicBezTo>
                <a:cubicBezTo>
                  <a:pt x="225648" y="1008000"/>
                  <a:pt x="0" y="782352"/>
                  <a:pt x="0" y="504000"/>
                </a:cubicBezTo>
                <a:cubicBezTo>
                  <a:pt x="0" y="225648"/>
                  <a:pt x="225648" y="0"/>
                  <a:pt x="504000" y="0"/>
                </a:cubicBezTo>
                <a:close/>
              </a:path>
            </a:pathLst>
          </a:custGeom>
          <a:solidFill>
            <a:srgbClr val="002060"/>
          </a:solidFill>
          <a:ln w="12700" algn="ctr">
            <a:solidFill>
              <a:srgbClr val="041E42"/>
            </a:solidFill>
            <a:miter lim="800000"/>
            <a:headEnd/>
            <a:tailEnd/>
          </a:ln>
        </p:spPr>
        <p:txBody>
          <a:bodyPr rot="0" spcFirstLastPara="0" vertOverflow="overflow" horzOverflow="overflow" vert="horz" wrap="square" lIns="1188720" tIns="0" rIns="0" bIns="731520" numCol="1" spcCol="0" rtlCol="0" fromWordArt="0" anchor="ctr" anchorCtr="0" forceAA="0" compatLnSpc="1">
            <a:prstTxWarp prst="textNoShape">
              <a:avLst/>
            </a:prstTxWarp>
            <a:noAutofit/>
          </a:bodyPr>
          <a:lstStyle/>
          <a:p>
            <a:pPr marL="360000" indent="-360000" defTabSz="914400">
              <a:buFont typeface="Wingdings 2" pitchFamily="18" charset="2"/>
              <a:buNone/>
              <a:defRPr/>
            </a:pPr>
            <a:r>
              <a:rPr kumimoji="1" lang="en-US" altLang="ja-JP" sz="1800" b="1">
                <a:solidFill>
                  <a:srgbClr val="FFFFFF"/>
                </a:solidFill>
                <a:latin typeface="Calibri"/>
              </a:rPr>
              <a:t>  Step 2</a:t>
            </a:r>
            <a:endParaRPr kumimoji="1" lang="ja-JP" altLang="en-US" sz="1800" b="1">
              <a:solidFill>
                <a:prstClr val="white"/>
              </a:solidFill>
              <a:latin typeface="Calibri"/>
            </a:endParaRPr>
          </a:p>
        </p:txBody>
      </p:sp>
      <p:sp>
        <p:nvSpPr>
          <p:cNvPr id="24" name="Freeform 59">
            <a:extLst>
              <a:ext uri="{FF2B5EF4-FFF2-40B4-BE49-F238E27FC236}">
                <a16:creationId xmlns:a16="http://schemas.microsoft.com/office/drawing/2014/main" id="{97C69841-1EE8-E4F7-4490-9CE62C8BCD8A}"/>
              </a:ext>
            </a:extLst>
          </p:cNvPr>
          <p:cNvSpPr>
            <a:spLocks noChangeAspect="1" noEditPoints="1"/>
          </p:cNvSpPr>
          <p:nvPr/>
        </p:nvSpPr>
        <p:spPr bwMode="gray">
          <a:xfrm>
            <a:off x="665155" y="3346873"/>
            <a:ext cx="1033861" cy="1029117"/>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ysClr val="window" lastClr="FFFFFF"/>
          </a:solidFill>
          <a:ln>
            <a:noFill/>
          </a:ln>
        </p:spPr>
        <p:txBody>
          <a:bodyPr vert="horz" wrap="none" lIns="0" tIns="0" rIns="0" bIns="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ndParaRPr>
          </a:p>
        </p:txBody>
      </p:sp>
      <p:sp>
        <p:nvSpPr>
          <p:cNvPr id="25" name="正方形/長方形 23">
            <a:extLst>
              <a:ext uri="{FF2B5EF4-FFF2-40B4-BE49-F238E27FC236}">
                <a16:creationId xmlns:a16="http://schemas.microsoft.com/office/drawing/2014/main" id="{8D7E2FD8-446F-95D8-E0AA-693B958FD375}"/>
              </a:ext>
            </a:extLst>
          </p:cNvPr>
          <p:cNvSpPr/>
          <p:nvPr/>
        </p:nvSpPr>
        <p:spPr bwMode="gray">
          <a:xfrm>
            <a:off x="1940560" y="2217356"/>
            <a:ext cx="8843752" cy="68924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14400">
              <a:defRPr/>
            </a:pPr>
            <a:r>
              <a:rPr kumimoji="1" lang="en-US" altLang="ja-JP" sz="1200">
                <a:solidFill>
                  <a:prstClr val="black"/>
                </a:solidFill>
                <a:ea typeface="Verdana" panose="020B0604030504040204" pitchFamily="34" charset="0"/>
              </a:rPr>
              <a:t>Email </a:t>
            </a:r>
            <a:r>
              <a:rPr kumimoji="1" lang="en-US" altLang="ja-JP" sz="1200">
                <a:solidFill>
                  <a:prstClr val="black"/>
                </a:solidFill>
                <a:ea typeface="Verdana" panose="020B0604030504040204" pitchFamily="34" charset="0"/>
                <a:hlinkClick r:id="rId3"/>
              </a:rPr>
              <a:t>ncsr@tn.gov</a:t>
            </a:r>
            <a:r>
              <a:rPr kumimoji="1" lang="en-US" altLang="ja-JP" sz="1200">
                <a:solidFill>
                  <a:prstClr val="black"/>
                </a:solidFill>
                <a:ea typeface="Verdana" panose="020B0604030504040204" pitchFamily="34" charset="0"/>
              </a:rPr>
              <a:t> with your name, title, and entity name if you are interested in participating or have any questions about the NCSR.</a:t>
            </a:r>
          </a:p>
        </p:txBody>
      </p:sp>
      <p:sp>
        <p:nvSpPr>
          <p:cNvPr id="26" name="正方形/長方形 23">
            <a:extLst>
              <a:ext uri="{FF2B5EF4-FFF2-40B4-BE49-F238E27FC236}">
                <a16:creationId xmlns:a16="http://schemas.microsoft.com/office/drawing/2014/main" id="{B1D3B0E1-AE4E-9492-7BF9-FE04D7B26E90}"/>
              </a:ext>
            </a:extLst>
          </p:cNvPr>
          <p:cNvSpPr/>
          <p:nvPr/>
        </p:nvSpPr>
        <p:spPr bwMode="gray">
          <a:xfrm>
            <a:off x="1940560" y="3744948"/>
            <a:ext cx="8843752" cy="68924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14400">
              <a:defRPr/>
            </a:pPr>
            <a:r>
              <a:rPr kumimoji="1" lang="en-US" altLang="ja-JP" sz="1200">
                <a:solidFill>
                  <a:prstClr val="black"/>
                </a:solidFill>
                <a:ea typeface="Verdana" panose="020B0604030504040204" pitchFamily="34" charset="0"/>
              </a:rPr>
              <a:t>You</a:t>
            </a:r>
            <a:r>
              <a:rPr kumimoji="1" lang="en-US" altLang="ja-JP" sz="1100">
                <a:solidFill>
                  <a:prstClr val="black"/>
                </a:solidFill>
                <a:ea typeface="Verdana" panose="020B0604030504040204" pitchFamily="34" charset="0"/>
              </a:rPr>
              <a:t> </a:t>
            </a:r>
            <a:r>
              <a:rPr kumimoji="1" lang="en-US" altLang="ja-JP" sz="1200">
                <a:solidFill>
                  <a:prstClr val="black"/>
                </a:solidFill>
                <a:ea typeface="Verdana" panose="020B0604030504040204" pitchFamily="34" charset="0"/>
              </a:rPr>
              <a:t>will see future communications with “NCSR” in the subject line to begin the NCSR! We will outline what to expect, when to expect it, and how we will help you along the way.</a:t>
            </a:r>
            <a:endParaRPr kumimoji="1" lang="en-US" altLang="ja-JP" sz="1100">
              <a:solidFill>
                <a:prstClr val="black"/>
              </a:solidFill>
              <a:ea typeface="Verdana" panose="020B0604030504040204" pitchFamily="34" charset="0"/>
            </a:endParaRPr>
          </a:p>
        </p:txBody>
      </p:sp>
      <p:sp>
        <p:nvSpPr>
          <p:cNvPr id="27" name="Freeform 242">
            <a:extLst>
              <a:ext uri="{FF2B5EF4-FFF2-40B4-BE49-F238E27FC236}">
                <a16:creationId xmlns:a16="http://schemas.microsoft.com/office/drawing/2014/main" id="{8143BA2E-A043-AFE4-F644-5848CAACBC5F}"/>
              </a:ext>
            </a:extLst>
          </p:cNvPr>
          <p:cNvSpPr>
            <a:spLocks noChangeAspect="1" noEditPoints="1"/>
          </p:cNvSpPr>
          <p:nvPr/>
        </p:nvSpPr>
        <p:spPr bwMode="gray">
          <a:xfrm>
            <a:off x="665155" y="1844080"/>
            <a:ext cx="1033861" cy="1029117"/>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rgbClr val="FFFFFF"/>
          </a:solidFill>
          <a:ln>
            <a:solidFill>
              <a:srgbClr val="041E42"/>
            </a:solidFill>
          </a:ln>
        </p:spPr>
        <p:txBody>
          <a:bodyPr vert="horz" wrap="none" lIns="0" tIns="0" rIns="0" bIns="0" numCol="1" anchor="ctr" anchorCtr="0" compatLnSpc="1">
            <a:prstTxWarp prst="textNoShape">
              <a:avLst/>
            </a:prstTxWarp>
          </a:bodyPr>
          <a:lstStyle/>
          <a:p>
            <a:pPr algn="ctr" defTabSz="914400">
              <a:defRPr/>
            </a:pPr>
            <a:endParaRPr lang="en-GB" sz="1200">
              <a:solidFill>
                <a:prstClr val="black"/>
              </a:solidFill>
              <a:latin typeface="Calibri"/>
            </a:endParaRPr>
          </a:p>
        </p:txBody>
      </p:sp>
      <p:sp>
        <p:nvSpPr>
          <p:cNvPr id="28" name="Rectangle 27">
            <a:extLst>
              <a:ext uri="{FF2B5EF4-FFF2-40B4-BE49-F238E27FC236}">
                <a16:creationId xmlns:a16="http://schemas.microsoft.com/office/drawing/2014/main" id="{548822AE-4B9D-8768-B8CF-F742886B45AB}"/>
              </a:ext>
            </a:extLst>
          </p:cNvPr>
          <p:cNvSpPr/>
          <p:nvPr/>
        </p:nvSpPr>
        <p:spPr bwMode="gray">
          <a:xfrm>
            <a:off x="2438400" y="5431912"/>
            <a:ext cx="7315200" cy="349979"/>
          </a:xfrm>
          <a:prstGeom prst="rect">
            <a:avLst/>
          </a:prstGeom>
          <a:solidFill>
            <a:srgbClr val="F2F2F2"/>
          </a:solidFill>
          <a:ln w="12700" algn="ctr">
            <a:solidFill>
              <a:sysClr val="windowText" lastClr="000000"/>
            </a:solidFill>
            <a:prstDash val="dash"/>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200" b="0" i="0" u="none" strike="noStrike" kern="0" cap="none" spc="0" normalizeH="0" baseline="0" noProof="0">
                <a:ln>
                  <a:noFill/>
                </a:ln>
                <a:solidFill>
                  <a:prstClr val="black"/>
                </a:solidFill>
                <a:effectLst/>
                <a:uLnTx/>
                <a:uFillTx/>
              </a:rPr>
              <a:t>Are you interested in participating or have questions? Contact our team at </a:t>
            </a:r>
            <a:r>
              <a:rPr kumimoji="0" lang="en-US" sz="1200" b="1" i="0" u="none" strike="noStrike" kern="0" cap="none" spc="0" normalizeH="0" baseline="0" noProof="0">
                <a:ln>
                  <a:noFill/>
                </a:ln>
                <a:solidFill>
                  <a:prstClr val="black"/>
                </a:solidFill>
                <a:effectLst/>
                <a:uLnTx/>
                <a:uFillTx/>
              </a:rPr>
              <a:t>ncsr@tn.gov</a:t>
            </a:r>
            <a:endParaRPr kumimoji="0" lang="en-US" sz="1600" b="1" i="0" u="none" strike="noStrike" kern="0" cap="none" spc="0" normalizeH="0" baseline="0" noProof="0">
              <a:ln>
                <a:noFill/>
              </a:ln>
              <a:solidFill>
                <a:prstClr val="white"/>
              </a:solidFill>
              <a:effectLst/>
              <a:uLnTx/>
              <a:uFillTx/>
            </a:endParaRPr>
          </a:p>
        </p:txBody>
      </p:sp>
    </p:spTree>
    <p:extLst>
      <p:ext uri="{BB962C8B-B14F-4D97-AF65-F5344CB8AC3E}">
        <p14:creationId xmlns:p14="http://schemas.microsoft.com/office/powerpoint/2010/main" val="51927892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5" id="{21219445-7334-4AA3-9246-0115222D80DA}" vid="{F469ED6C-1D06-4A16-8A79-F12014AA15C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19DD8014021804B805163C0B54975F1" ma:contentTypeVersion="11" ma:contentTypeDescription="Create a new document." ma:contentTypeScope="" ma:versionID="f492f95df1ba76c35dd5090a10987ee1">
  <xsd:schema xmlns:xsd="http://www.w3.org/2001/XMLSchema" xmlns:xs="http://www.w3.org/2001/XMLSchema" xmlns:p="http://schemas.microsoft.com/office/2006/metadata/properties" xmlns:ns2="c812e7d1-da6a-4c2c-a6f4-969a22b4f2fa" xmlns:ns3="b5d7512d-ae0b-4ec4-9f50-23ddadfa77d5" targetNamespace="http://schemas.microsoft.com/office/2006/metadata/properties" ma:root="true" ma:fieldsID="b1ca7d63a7f7201fba0e2b9c3dcb4be1" ns2:_="" ns3:_="">
    <xsd:import namespace="c812e7d1-da6a-4c2c-a6f4-969a22b4f2fa"/>
    <xsd:import namespace="b5d7512d-ae0b-4ec4-9f50-23ddadfa77d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812e7d1-da6a-4c2c-a6f4-969a22b4f2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5d7512d-ae0b-4ec4-9f50-23ddadfa77d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987e032d-5bbe-48ca-b36e-0031a92219f3}" ma:internalName="TaxCatchAll" ma:showField="CatchAllData" ma:web="b5d7512d-ae0b-4ec4-9f50-23ddadfa77d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b5d7512d-ae0b-4ec4-9f50-23ddadfa77d5">
      <UserInfo>
        <DisplayName>Wells, Rick</DisplayName>
        <AccountId>26</AccountId>
        <AccountType/>
      </UserInfo>
      <UserInfo>
        <DisplayName>Xu, April</DisplayName>
        <AccountId>11</AccountId>
        <AccountType/>
      </UserInfo>
      <UserInfo>
        <DisplayName>Lewek, Alex</DisplayName>
        <AccountId>17</AccountId>
        <AccountType/>
      </UserInfo>
      <UserInfo>
        <DisplayName>Shaw, James R</DisplayName>
        <AccountId>22</AccountId>
        <AccountType/>
      </UserInfo>
      <UserInfo>
        <DisplayName>Andrade Rocha, Julia</DisplayName>
        <AccountId>20</AccountId>
        <AccountType/>
      </UserInfo>
      <UserInfo>
        <DisplayName>Clark, Charity Genise</DisplayName>
        <AccountId>31</AccountId>
        <AccountType/>
      </UserInfo>
    </SharedWithUsers>
    <lcf76f155ced4ddcb4097134ff3c332f xmlns="c812e7d1-da6a-4c2c-a6f4-969a22b4f2fa">
      <Terms xmlns="http://schemas.microsoft.com/office/infopath/2007/PartnerControls"/>
    </lcf76f155ced4ddcb4097134ff3c332f>
    <TaxCatchAll xmlns="b5d7512d-ae0b-4ec4-9f50-23ddadfa77d5" xsi:nil="true"/>
  </documentManagement>
</p:properties>
</file>

<file path=customXml/itemProps1.xml><?xml version="1.0" encoding="utf-8"?>
<ds:datastoreItem xmlns:ds="http://schemas.openxmlformats.org/officeDocument/2006/customXml" ds:itemID="{8F3424EB-312F-4116-B201-E6C4F4CFC7DA}">
  <ds:schemaRefs>
    <ds:schemaRef ds:uri="http://schemas.microsoft.com/sharepoint/v3/contenttype/forms"/>
  </ds:schemaRefs>
</ds:datastoreItem>
</file>

<file path=customXml/itemProps2.xml><?xml version="1.0" encoding="utf-8"?>
<ds:datastoreItem xmlns:ds="http://schemas.openxmlformats.org/officeDocument/2006/customXml" ds:itemID="{DF865E99-A48E-4391-9BE9-5E8A92B434E8}">
  <ds:schemaRefs>
    <ds:schemaRef ds:uri="b5d7512d-ae0b-4ec4-9f50-23ddadfa77d5"/>
    <ds:schemaRef ds:uri="c812e7d1-da6a-4c2c-a6f4-969a22b4f2f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4AF9B9D-09FF-4E7A-B017-3868C82DF9F2}">
  <ds:schemaRefs>
    <ds:schemaRef ds:uri="http://purl.org/dc/dcmitype/"/>
    <ds:schemaRef ds:uri="http://purl.org/dc/elements/1.1/"/>
    <ds:schemaRef ds:uri="http://schemas.openxmlformats.org/package/2006/metadata/core-properties"/>
    <ds:schemaRef ds:uri="c812e7d1-da6a-4c2c-a6f4-969a22b4f2fa"/>
    <ds:schemaRef ds:uri="http://purl.org/dc/terms/"/>
    <ds:schemaRef ds:uri="http://www.w3.org/XML/1998/namespace"/>
    <ds:schemaRef ds:uri="http://schemas.microsoft.com/office/2006/documentManagement/types"/>
    <ds:schemaRef ds:uri="b5d7512d-ae0b-4ec4-9f50-23ddadfa77d5"/>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Deloitte_16_9_Onscreen_US</Template>
  <TotalTime>9</TotalTime>
  <Words>736</Words>
  <Application>Microsoft Office PowerPoint</Application>
  <PresentationFormat>Widescreen</PresentationFormat>
  <Paragraphs>61</Paragraphs>
  <Slides>5</Slides>
  <Notes>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5" baseType="lpstr">
      <vt:lpstr>Arial</vt:lpstr>
      <vt:lpstr>Calibri</vt:lpstr>
      <vt:lpstr>Calibri Light</vt:lpstr>
      <vt:lpstr>Chronicle Display Black</vt:lpstr>
      <vt:lpstr>Open Sans</vt:lpstr>
      <vt:lpstr>Verdana</vt:lpstr>
      <vt:lpstr>Wingdings 2</vt:lpstr>
      <vt:lpstr>Deloitte_US_Onscreen</vt:lpstr>
      <vt:lpstr>Office Theme</vt:lpstr>
      <vt:lpstr>think-cell Slide</vt:lpstr>
      <vt:lpstr>PowerPoint Presentation</vt:lpstr>
      <vt:lpstr>The State of TN and STS are Prepared to Help with Cybersecurity</vt:lpstr>
      <vt:lpstr>What is the NCSR and How Can We Help Your Organization?</vt:lpstr>
      <vt:lpstr>Frequently Asked Questions About the NCSR</vt:lpstr>
      <vt:lpstr>Let’s Work Together to Improve Your Cybersecurity</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wek, Alex</dc:creator>
  <cp:lastModifiedBy>Shaw, James</cp:lastModifiedBy>
  <cp:revision>4</cp:revision>
  <cp:lastPrinted>2014-06-25T02:16:22Z</cp:lastPrinted>
  <dcterms:created xsi:type="dcterms:W3CDTF">2016-06-23T17:28:27Z</dcterms:created>
  <dcterms:modified xsi:type="dcterms:W3CDTF">2023-05-19T14:5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19DD8014021804B805163C0B54975F1</vt:lpwstr>
  </property>
  <property fmtid="{D5CDD505-2E9C-101B-9397-08002B2CF9AE}" pid="3" name="MSIP_Label_ea60d57e-af5b-4752-ac57-3e4f28ca11dc_Enabled">
    <vt:lpwstr>true</vt:lpwstr>
  </property>
  <property fmtid="{D5CDD505-2E9C-101B-9397-08002B2CF9AE}" pid="4" name="MSIP_Label_ea60d57e-af5b-4752-ac57-3e4f28ca11dc_SetDate">
    <vt:lpwstr>2022-01-07T18:10:28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992a47e7-44a8-4471-834a-145c8d9f535f</vt:lpwstr>
  </property>
  <property fmtid="{D5CDD505-2E9C-101B-9397-08002B2CF9AE}" pid="9" name="MSIP_Label_ea60d57e-af5b-4752-ac57-3e4f28ca11dc_ContentBits">
    <vt:lpwstr>0</vt:lpwstr>
  </property>
  <property fmtid="{D5CDD505-2E9C-101B-9397-08002B2CF9AE}" pid="10" name="MediaServiceImageTags">
    <vt:lpwstr/>
  </property>
</Properties>
</file>